
<file path=[Content_Types].xml><?xml version="1.0" encoding="utf-8"?>
<Types xmlns="http://schemas.openxmlformats.org/package/2006/content-types"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slides/slide16.xml" ContentType="application/vnd.openxmlformats-officedocument.presentationml.slide+xml"/>
  <Override PartName="/ppt/diagrams/data2.xml" ContentType="application/vnd.openxmlformats-officedocument.drawingml.diagramData+xml"/>
  <Override PartName="/ppt/diagrams/data1.xml" ContentType="application/vnd.openxmlformats-officedocument.drawingml.diagramData+xml"/>
  <Override PartName="/ppt/slides/slide17.xml" ContentType="application/vnd.openxmlformats-officedocument.presentationml.slide+xml"/>
  <Override PartName="/ppt/presentation.xml" ContentType="application/vnd.openxmlformats-officedocument.presentationml.presentation.main+xml"/>
  <Override PartName="/ppt/slides/slide15.xml" ContentType="application/vnd.openxmlformats-officedocument.presentationml.slide+xml"/>
  <Override PartName="/ppt/slides/slide6.xml" ContentType="application/vnd.openxmlformats-officedocument.presentationml.slide+xml"/>
  <Override PartName="/ppt/slides/slide5.xml" ContentType="application/vnd.openxmlformats-officedocument.presentationml.slide+xml"/>
  <Override PartName="/ppt/slides/slide4.xml" ContentType="application/vnd.openxmlformats-officedocument.presentationml.slide+xml"/>
  <Override PartName="/ppt/slides/slide3.xml" ContentType="application/vnd.openxmlformats-officedocument.presentationml.slide+xml"/>
  <Override PartName="/ppt/slides/slide2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3.xml" ContentType="application/vnd.openxmlformats-officedocument.presentationml.slide+xml"/>
  <Override PartName="/ppt/slides/slide12.xml" ContentType="application/vnd.openxmlformats-officedocument.presentationml.slide+xml"/>
  <Override PartName="/ppt/slides/slide11.xml" ContentType="application/vnd.openxmlformats-officedocument.presentationml.slide+xml"/>
  <Override PartName="/ppt/slides/slide10.xml" ContentType="application/vnd.openxmlformats-officedocument.presentationml.slide+xml"/>
  <Override PartName="/ppt/slides/slide1.xml" ContentType="application/vnd.openxmlformats-officedocument.presentationml.slide+xml"/>
  <Override PartName="/ppt/slides/slide14.xml" ContentType="application/vnd.openxmlformats-officedocument.presentationml.slide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notesSlides/notesSlide8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slideMasters/slideMaster4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1.xml" ContentType="application/vnd.openxmlformats-officedocument.presentationml.slideMaster+xml"/>
  <Override PartName="/ppt/slideLayouts/slideLayout27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6.xml" ContentType="application/vnd.openxmlformats-officedocument.presentationml.slideLayout+xml"/>
  <Override PartName="/ppt/notesSlides/notesSlide1.xml" ContentType="application/vnd.openxmlformats-officedocument.presentationml.notesSlide+xml"/>
  <Override PartName="/ppt/slideLayouts/slideLayout26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notesSlides/notesSlide3.xml" ContentType="application/vnd.openxmlformats-officedocument.presentationml.notesSlide+xml"/>
  <Override PartName="/ppt/slideLayouts/slideLayout1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1.xml" ContentType="application/vnd.openxmlformats-officedocument.presentationml.slideLayout+xml"/>
  <Override PartName="/ppt/notesSlides/notesSlide2.xml" ContentType="application/vnd.openxmlformats-officedocument.presentationml.notesSlide+xml"/>
  <Override PartName="/ppt/slideLayouts/slideLayout6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3.xml" ContentType="application/vnd.openxmlformats-officedocument.theme+xml"/>
  <Override PartName="/ppt/notesMasters/notesMaster1.xml" ContentType="application/vnd.openxmlformats-officedocument.presentationml.notesMaster+xml"/>
  <Override PartName="/ppt/diagrams/quickStyle1.xml" ContentType="application/vnd.openxmlformats-officedocument.drawingml.diagramStyle+xml"/>
  <Override PartName="/ppt/handoutMasters/handoutMaster1.xml" ContentType="application/vnd.openxmlformats-officedocument.presentationml.handoutMaster+xml"/>
  <Override PartName="/ppt/theme/theme2.xml" ContentType="application/vnd.openxmlformats-officedocument.theme+xml"/>
  <Override PartName="/ppt/theme/theme5.xml" ContentType="application/vnd.openxmlformats-officedocument.theme+xml"/>
  <Override PartName="/ppt/theme/theme4.xml" ContentType="application/vnd.openxmlformats-officedocument.theme+xml"/>
  <Override PartName="/ppt/theme/theme1.xml" ContentType="application/vnd.openxmlformats-officedocument.theme+xml"/>
  <Override PartName="/ppt/diagrams/layout1.xml" ContentType="application/vnd.openxmlformats-officedocument.drawingml.diagramLayout+xml"/>
  <Override PartName="/ppt/theme/theme6.xml" ContentType="application/vnd.openxmlformats-officedocument.theme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theme/theme9.xml" ContentType="application/vnd.openxmlformats-officedocument.theme+xml"/>
  <Override PartName="/ppt/theme/theme10.xml" ContentType="application/vnd.openxmlformats-officedocument.theme+xml"/>
  <Override PartName="/ppt/diagrams/drawing1.xml" ContentType="application/vnd.ms-office.drawingml.diagramDrawing+xml"/>
  <Override PartName="/ppt/theme/theme7.xml" ContentType="application/vnd.openxmlformats-officedocument.theme+xml"/>
  <Override PartName="/ppt/diagrams/colors1.xml" ContentType="application/vnd.openxmlformats-officedocument.drawingml.diagramColors+xml"/>
  <Override PartName="/ppt/theme/theme8.xml" ContentType="application/vnd.openxmlformats-officedocument.theme+xml"/>
  <Override PartName="/ppt/viewProps.xml" ContentType="application/vnd.openxmlformats-officedocument.presentationml.viewProps+xml"/>
  <Override PartName="/ppt/tableStyles.xml" ContentType="application/vnd.openxmlformats-officedocument.presentationml.tableStyles+xml"/>
  <Override PartName="/ppt/presProps.xml" ContentType="application/vnd.openxmlformats-officedocument.presentationml.presProps+xml"/>
  <Override PartName="/ppt/tags/tag1.xml" ContentType="application/vnd.openxmlformats-officedocument.presentationml.tags+xml"/>
  <Override PartName="/ppt/tags/tag11.xml" ContentType="application/vnd.openxmlformats-officedocument.presentationml.tags+xml"/>
  <Override PartName="/ppt/tags/tag4.xml" ContentType="application/vnd.openxmlformats-officedocument.presentationml.tags+xml"/>
  <Override PartName="/ppt/tags/tag3.xml" ContentType="application/vnd.openxmlformats-officedocument.presentationml.tags+xml"/>
  <Override PartName="/ppt/tags/tag14.xml" ContentType="application/vnd.openxmlformats-officedocument.presentationml.tags+xml"/>
  <Override PartName="/ppt/tags/tag13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2.xml" ContentType="application/vnd.openxmlformats-officedocument.presentationml.tags+xml"/>
  <Override PartName="/ppt/tags/tag15.xml" ContentType="application/vnd.openxmlformats-officedocument.presentationml.tags+xml"/>
  <Override PartName="/ppt/tags/tag8.xml" ContentType="application/vnd.openxmlformats-officedocument.presentationml.tags+xml"/>
  <Override PartName="/ppt/tags/tag7.xml" ContentType="application/vnd.openxmlformats-officedocument.presentationml.tags+xml"/>
  <Override PartName="/docProps/core.xml" ContentType="application/vnd.openxmlformats-package.core-propertie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docProps/app.xml" ContentType="application/vnd.openxmlformats-officedocument.extended-properties+xml"/>
  <Override PartName="/ppt/tags/tag16.xml" ContentType="application/vnd.openxmlformats-officedocument.presentationml.tags+xml"/>
  <Override PartName="/ppt/tags/tag2.xml" ContentType="application/vnd.openxmlformats-officedocument.presentationml.tags+xml"/>
  <Override PartName="/customXml/itemProps2.xml" ContentType="application/vnd.openxmlformats-officedocument.customXmlProperties+xml"/>
  <Override PartName="/customXml/itemProps1.xml" ContentType="application/vnd.openxmlformats-officedocument.customXmlProperties+xml"/>
  <Override PartName="/customXml/itemProps3.xml" ContentType="application/vnd.openxmlformats-officedocument.customXml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88" r:id="rId2"/>
    <p:sldMasterId id="2147483693" r:id="rId3"/>
    <p:sldMasterId id="2147483698" r:id="rId4"/>
    <p:sldMasterId id="2147483703" r:id="rId5"/>
    <p:sldMasterId id="2147483708" r:id="rId6"/>
    <p:sldMasterId id="2147483714" r:id="rId7"/>
    <p:sldMasterId id="2147483721" r:id="rId8"/>
  </p:sldMasterIdLst>
  <p:notesMasterIdLst>
    <p:notesMasterId r:id="rId26"/>
  </p:notesMasterIdLst>
  <p:handoutMasterIdLst>
    <p:handoutMasterId r:id="rId27"/>
  </p:handoutMasterIdLst>
  <p:sldIdLst>
    <p:sldId id="398" r:id="rId9"/>
    <p:sldId id="684" r:id="rId10"/>
    <p:sldId id="601" r:id="rId11"/>
    <p:sldId id="615" r:id="rId12"/>
    <p:sldId id="699" r:id="rId13"/>
    <p:sldId id="696" r:id="rId14"/>
    <p:sldId id="697" r:id="rId15"/>
    <p:sldId id="702" r:id="rId16"/>
    <p:sldId id="703" r:id="rId17"/>
    <p:sldId id="700" r:id="rId18"/>
    <p:sldId id="613" r:id="rId19"/>
    <p:sldId id="604" r:id="rId20"/>
    <p:sldId id="688" r:id="rId21"/>
    <p:sldId id="691" r:id="rId22"/>
    <p:sldId id="694" r:id="rId23"/>
    <p:sldId id="693" r:id="rId24"/>
    <p:sldId id="692" r:id="rId25"/>
  </p:sldIdLst>
  <p:sldSz cx="9144000" cy="6858000" type="screen4x3"/>
  <p:notesSz cx="7023100" cy="93091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932" userDrawn="1">
          <p15:clr>
            <a:srgbClr val="A4A3A4"/>
          </p15:clr>
        </p15:guide>
        <p15:guide id="2" pos="2212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269E"/>
    <a:srgbClr val="002060"/>
    <a:srgbClr val="F5F5F5"/>
    <a:srgbClr val="FF9933"/>
    <a:srgbClr val="CCECFF"/>
    <a:srgbClr val="FF6600"/>
    <a:srgbClr val="CC0000"/>
    <a:srgbClr val="008080"/>
    <a:srgbClr val="B8D87A"/>
    <a:srgbClr val="91A1D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ED083AE6-46FA-4A59-8FB0-9F97EB10719F}" styleName="Light Style 3 - Accent 4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793D81CF-94F2-401A-BA57-92F5A7B2D0C5}" styleName="Medium Style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D27102A9-8310-4765-A935-A1911B00CA55}" styleName="Light Style 1 - Accent 4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C4B1156A-380E-4F78-BDF5-A606A8083BF9}" styleName="Medium Style 4 - Acc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4"/>
              </a:solidFill>
            </a:ln>
          </a:top>
        </a:tcBdr>
        <a:fill>
          <a:solidFill>
            <a:schemeClr val="accent4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4">
              <a:tint val="20000"/>
            </a:schemeClr>
          </a:solidFill>
        </a:fill>
      </a:tcStyle>
    </a:firstRow>
  </a:tblStyle>
  <a:tblStyle styleId="{125E5076-3810-47DD-B79F-674D7AD40C01}" styleName="Dark Style 1 - Accent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wholeTbl>
    <a:band1H>
      <a:tcStyle>
        <a:tcBdr/>
        <a:fill>
          <a:solidFill>
            <a:schemeClr val="accent1">
              <a:shade val="60000"/>
            </a:schemeClr>
          </a:solidFill>
        </a:fill>
      </a:tcStyle>
    </a:band1H>
    <a:band1V>
      <a:tcStyle>
        <a:tcBdr/>
        <a:fill>
          <a:solidFill>
            <a:schemeClr val="accent1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1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1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1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6E25E649-3F16-4E02-A733-19D2CDBF48F0}" styleName="Medium Style 3 - Acc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8799B23B-EC83-4686-B30A-512413B5E67A}" styleName="Light Style 3 - Accent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17292A2E-F333-43FB-9621-5CBBE7FDCDCB}" styleName="Light Style 2 - Acc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21465" autoAdjust="0"/>
    <p:restoredTop sz="96391" autoAdjust="0"/>
  </p:normalViewPr>
  <p:slideViewPr>
    <p:cSldViewPr snapToGrid="0">
      <p:cViewPr varScale="1">
        <p:scale>
          <a:sx n="115" d="100"/>
          <a:sy n="115" d="100"/>
        </p:scale>
        <p:origin x="1158" y="108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8312"/>
    </p:cViewPr>
  </p:sorterViewPr>
  <p:notesViewPr>
    <p:cSldViewPr snapToGrid="0">
      <p:cViewPr varScale="1">
        <p:scale>
          <a:sx n="91" d="100"/>
          <a:sy n="91" d="100"/>
        </p:scale>
        <p:origin x="2712" y="108"/>
      </p:cViewPr>
      <p:guideLst>
        <p:guide orient="horz" pos="2932"/>
        <p:guide pos="2212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5.xml"/><Relationship Id="rId18" Type="http://schemas.openxmlformats.org/officeDocument/2006/relationships/slide" Target="slides/slide10.xml"/><Relationship Id="rId26" Type="http://schemas.openxmlformats.org/officeDocument/2006/relationships/notesMaster" Target="notesMasters/notesMaster1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3.xml"/><Relationship Id="rId34" Type="http://schemas.openxmlformats.org/officeDocument/2006/relationships/customXml" Target="../customXml/item3.xml"/><Relationship Id="rId7" Type="http://schemas.openxmlformats.org/officeDocument/2006/relationships/slideMaster" Target="slideMasters/slideMaster7.xml"/><Relationship Id="rId12" Type="http://schemas.openxmlformats.org/officeDocument/2006/relationships/slide" Target="slides/slide4.xml"/><Relationship Id="rId17" Type="http://schemas.openxmlformats.org/officeDocument/2006/relationships/slide" Target="slides/slide9.xml"/><Relationship Id="rId25" Type="http://schemas.openxmlformats.org/officeDocument/2006/relationships/slide" Target="slides/slide17.xml"/><Relationship Id="rId33" Type="http://schemas.openxmlformats.org/officeDocument/2006/relationships/customXml" Target="../customXml/item2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8.xml"/><Relationship Id="rId20" Type="http://schemas.openxmlformats.org/officeDocument/2006/relationships/slide" Target="slides/slide12.xml"/><Relationship Id="rId29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3.xml"/><Relationship Id="rId24" Type="http://schemas.openxmlformats.org/officeDocument/2006/relationships/slide" Target="slides/slide16.xml"/><Relationship Id="rId32" Type="http://schemas.openxmlformats.org/officeDocument/2006/relationships/customXml" Target="../customXml/item1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7.xml"/><Relationship Id="rId23" Type="http://schemas.openxmlformats.org/officeDocument/2006/relationships/slide" Target="slides/slide15.xml"/><Relationship Id="rId28" Type="http://schemas.openxmlformats.org/officeDocument/2006/relationships/presProps" Target="presProps.xml"/><Relationship Id="rId10" Type="http://schemas.openxmlformats.org/officeDocument/2006/relationships/slide" Target="slides/slide2.xml"/><Relationship Id="rId19" Type="http://schemas.openxmlformats.org/officeDocument/2006/relationships/slide" Target="slides/slide11.xml"/><Relationship Id="rId31" Type="http://schemas.openxmlformats.org/officeDocument/2006/relationships/tableStyles" Target="tableStyles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1.xml"/><Relationship Id="rId14" Type="http://schemas.openxmlformats.org/officeDocument/2006/relationships/slide" Target="slides/slide6.xml"/><Relationship Id="rId22" Type="http://schemas.openxmlformats.org/officeDocument/2006/relationships/slide" Target="slides/slide14.xml"/><Relationship Id="rId27" Type="http://schemas.openxmlformats.org/officeDocument/2006/relationships/handoutMaster" Target="handoutMasters/handoutMaster1.xml"/><Relationship Id="rId30" Type="http://schemas.openxmlformats.org/officeDocument/2006/relationships/theme" Target="theme/theme1.xml"/><Relationship Id="rId8" Type="http://schemas.openxmlformats.org/officeDocument/2006/relationships/slideMaster" Target="slideMasters/slideMaster8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9874AFE9-CF37-4806-8F4B-57466B5A0EC7}" type="doc">
      <dgm:prSet loTypeId="urn:microsoft.com/office/officeart/2005/8/layout/hChevron3" loCatId="process" qsTypeId="urn:microsoft.com/office/officeart/2005/8/quickstyle/simple1" qsCatId="simple" csTypeId="urn:microsoft.com/office/officeart/2005/8/colors/accent1_2" csCatId="accent1" phldr="1"/>
      <dgm:spPr/>
    </dgm:pt>
    <dgm:pt modelId="{4EF3B962-2EDE-473A-80DF-1707B4BB465F}">
      <dgm:prSet phldrT="[Text]"/>
      <dgm:spPr>
        <a:solidFill>
          <a:schemeClr val="tx2">
            <a:lumMod val="60000"/>
            <a:lumOff val="40000"/>
          </a:schemeClr>
        </a:solidFill>
      </dgm:spPr>
      <dgm:t>
        <a:bodyPr/>
        <a:lstStyle/>
        <a:p>
          <a:r>
            <a:rPr lang="en-US" dirty="0" smtClean="0"/>
            <a:t>Aug</a:t>
          </a:r>
          <a:endParaRPr lang="en-US" dirty="0"/>
        </a:p>
      </dgm:t>
    </dgm:pt>
    <dgm:pt modelId="{26BF528E-D14B-420D-A881-86F6587041AA}" type="parTrans" cxnId="{2BC58AE2-8F3F-4884-A60F-BECD3B800A0D}">
      <dgm:prSet/>
      <dgm:spPr/>
      <dgm:t>
        <a:bodyPr/>
        <a:lstStyle/>
        <a:p>
          <a:endParaRPr lang="en-US"/>
        </a:p>
      </dgm:t>
    </dgm:pt>
    <dgm:pt modelId="{8C42F782-D1ED-49B6-8DFA-B3250AAD2BA1}" type="sibTrans" cxnId="{2BC58AE2-8F3F-4884-A60F-BECD3B800A0D}">
      <dgm:prSet/>
      <dgm:spPr/>
      <dgm:t>
        <a:bodyPr/>
        <a:lstStyle/>
        <a:p>
          <a:endParaRPr lang="en-US"/>
        </a:p>
      </dgm:t>
    </dgm:pt>
    <dgm:pt modelId="{04B8BB93-D0B6-4165-BE93-D383FFFA91DD}">
      <dgm:prSet phldrT="[Text]"/>
      <dgm:spPr>
        <a:solidFill>
          <a:schemeClr val="tx2">
            <a:lumMod val="60000"/>
            <a:lumOff val="40000"/>
          </a:schemeClr>
        </a:solidFill>
      </dgm:spPr>
      <dgm:t>
        <a:bodyPr/>
        <a:lstStyle/>
        <a:p>
          <a:r>
            <a:rPr lang="en-US" dirty="0" smtClean="0"/>
            <a:t>Apr</a:t>
          </a:r>
          <a:endParaRPr lang="en-US" dirty="0"/>
        </a:p>
      </dgm:t>
    </dgm:pt>
    <dgm:pt modelId="{3B14DAC7-5508-45CE-BCB1-DAD05B2A133F}" type="parTrans" cxnId="{DABDDDD7-2BC0-4324-A0CF-56FB3A9C97A9}">
      <dgm:prSet/>
      <dgm:spPr/>
      <dgm:t>
        <a:bodyPr/>
        <a:lstStyle/>
        <a:p>
          <a:endParaRPr lang="en-US"/>
        </a:p>
      </dgm:t>
    </dgm:pt>
    <dgm:pt modelId="{E3354D68-789A-456F-B052-7EAEDF21DAFD}" type="sibTrans" cxnId="{DABDDDD7-2BC0-4324-A0CF-56FB3A9C97A9}">
      <dgm:prSet/>
      <dgm:spPr/>
      <dgm:t>
        <a:bodyPr/>
        <a:lstStyle/>
        <a:p>
          <a:endParaRPr lang="en-US"/>
        </a:p>
      </dgm:t>
    </dgm:pt>
    <dgm:pt modelId="{9BE3DDD2-63DE-4B65-BFA3-97EF3E5CE2F4}">
      <dgm:prSet phldrT="[Text]"/>
      <dgm:spPr>
        <a:solidFill>
          <a:schemeClr val="tx2">
            <a:lumMod val="60000"/>
            <a:lumOff val="40000"/>
          </a:schemeClr>
        </a:solidFill>
      </dgm:spPr>
      <dgm:t>
        <a:bodyPr/>
        <a:lstStyle/>
        <a:p>
          <a:r>
            <a:rPr lang="en-US" dirty="0" smtClean="0"/>
            <a:t>May</a:t>
          </a:r>
          <a:endParaRPr lang="en-US" dirty="0"/>
        </a:p>
      </dgm:t>
    </dgm:pt>
    <dgm:pt modelId="{D80721B6-C220-4B8F-AD8E-A4F30E3C8CEE}" type="parTrans" cxnId="{2923CBA9-4AE8-4717-A1E1-5D1467061A54}">
      <dgm:prSet/>
      <dgm:spPr/>
      <dgm:t>
        <a:bodyPr/>
        <a:lstStyle/>
        <a:p>
          <a:endParaRPr lang="en-US"/>
        </a:p>
      </dgm:t>
    </dgm:pt>
    <dgm:pt modelId="{56611181-5D74-4872-96E7-86280A6A99EB}" type="sibTrans" cxnId="{2923CBA9-4AE8-4717-A1E1-5D1467061A54}">
      <dgm:prSet/>
      <dgm:spPr/>
      <dgm:t>
        <a:bodyPr/>
        <a:lstStyle/>
        <a:p>
          <a:endParaRPr lang="en-US"/>
        </a:p>
      </dgm:t>
    </dgm:pt>
    <dgm:pt modelId="{9D847D35-02AB-4258-9093-A9E7B88C36DE}">
      <dgm:prSet phldrT="[Text]"/>
      <dgm:spPr>
        <a:solidFill>
          <a:schemeClr val="tx2">
            <a:lumMod val="60000"/>
            <a:lumOff val="40000"/>
          </a:schemeClr>
        </a:solidFill>
      </dgm:spPr>
      <dgm:t>
        <a:bodyPr/>
        <a:lstStyle/>
        <a:p>
          <a:r>
            <a:rPr lang="en-US" dirty="0" smtClean="0"/>
            <a:t>Jun</a:t>
          </a:r>
          <a:endParaRPr lang="en-US" dirty="0"/>
        </a:p>
      </dgm:t>
    </dgm:pt>
    <dgm:pt modelId="{884C82A3-4C6A-42B8-AF5A-16289184F4CC}" type="parTrans" cxnId="{FCD22BB0-348B-4449-8C37-84A1806BFE6F}">
      <dgm:prSet/>
      <dgm:spPr/>
      <dgm:t>
        <a:bodyPr/>
        <a:lstStyle/>
        <a:p>
          <a:endParaRPr lang="en-US"/>
        </a:p>
      </dgm:t>
    </dgm:pt>
    <dgm:pt modelId="{BC9C67E1-DF3F-4B6E-B660-064EC531C77F}" type="sibTrans" cxnId="{FCD22BB0-348B-4449-8C37-84A1806BFE6F}">
      <dgm:prSet/>
      <dgm:spPr/>
      <dgm:t>
        <a:bodyPr/>
        <a:lstStyle/>
        <a:p>
          <a:endParaRPr lang="en-US"/>
        </a:p>
      </dgm:t>
    </dgm:pt>
    <dgm:pt modelId="{A52F3A5C-2551-4AB3-94DB-FA7FF6EBD1E0}">
      <dgm:prSet phldrT="[Text]"/>
      <dgm:spPr>
        <a:solidFill>
          <a:schemeClr val="tx2">
            <a:lumMod val="60000"/>
            <a:lumOff val="40000"/>
          </a:schemeClr>
        </a:solidFill>
      </dgm:spPr>
      <dgm:t>
        <a:bodyPr/>
        <a:lstStyle/>
        <a:p>
          <a:r>
            <a:rPr lang="en-US" dirty="0" smtClean="0"/>
            <a:t>Jul</a:t>
          </a:r>
          <a:endParaRPr lang="en-US" dirty="0"/>
        </a:p>
      </dgm:t>
    </dgm:pt>
    <dgm:pt modelId="{12CB1107-D9CA-4C44-9F69-9DBEA15A3438}" type="parTrans" cxnId="{15AB4BB9-141A-4465-8972-5001684DE0CE}">
      <dgm:prSet/>
      <dgm:spPr/>
      <dgm:t>
        <a:bodyPr/>
        <a:lstStyle/>
        <a:p>
          <a:endParaRPr lang="en-US"/>
        </a:p>
      </dgm:t>
    </dgm:pt>
    <dgm:pt modelId="{85C75A77-64EE-4EC8-B6AA-974B28545AEE}" type="sibTrans" cxnId="{15AB4BB9-141A-4465-8972-5001684DE0CE}">
      <dgm:prSet/>
      <dgm:spPr/>
      <dgm:t>
        <a:bodyPr/>
        <a:lstStyle/>
        <a:p>
          <a:endParaRPr lang="en-US"/>
        </a:p>
      </dgm:t>
    </dgm:pt>
    <dgm:pt modelId="{61262CF0-6997-4D06-872E-E1DC4CAB54D9}">
      <dgm:prSet phldrT="[Text]"/>
      <dgm:spPr>
        <a:solidFill>
          <a:schemeClr val="tx2">
            <a:lumMod val="60000"/>
            <a:lumOff val="40000"/>
          </a:schemeClr>
        </a:solidFill>
      </dgm:spPr>
      <dgm:t>
        <a:bodyPr/>
        <a:lstStyle/>
        <a:p>
          <a:r>
            <a:rPr lang="en-US" dirty="0" smtClean="0"/>
            <a:t>Sep</a:t>
          </a:r>
          <a:endParaRPr lang="en-US" dirty="0"/>
        </a:p>
      </dgm:t>
    </dgm:pt>
    <dgm:pt modelId="{24AB4F04-E326-446E-95C7-7CB1CFEA9771}" type="parTrans" cxnId="{C9CA7D7A-89FD-42D4-A889-BB6826565BE8}">
      <dgm:prSet/>
      <dgm:spPr/>
      <dgm:t>
        <a:bodyPr/>
        <a:lstStyle/>
        <a:p>
          <a:endParaRPr lang="en-US"/>
        </a:p>
      </dgm:t>
    </dgm:pt>
    <dgm:pt modelId="{55AC27EF-69F7-4B67-83E1-14920CB03186}" type="sibTrans" cxnId="{C9CA7D7A-89FD-42D4-A889-BB6826565BE8}">
      <dgm:prSet/>
      <dgm:spPr/>
      <dgm:t>
        <a:bodyPr/>
        <a:lstStyle/>
        <a:p>
          <a:endParaRPr lang="en-US"/>
        </a:p>
      </dgm:t>
    </dgm:pt>
    <dgm:pt modelId="{55EFBFD3-09F9-43D9-86A7-DA21C6B614E2}">
      <dgm:prSet phldrT="[Text]"/>
      <dgm:spPr>
        <a:solidFill>
          <a:schemeClr val="tx2">
            <a:lumMod val="60000"/>
            <a:lumOff val="40000"/>
          </a:schemeClr>
        </a:solidFill>
      </dgm:spPr>
      <dgm:t>
        <a:bodyPr/>
        <a:lstStyle/>
        <a:p>
          <a:r>
            <a:rPr lang="en-US" dirty="0" smtClean="0"/>
            <a:t>Oct</a:t>
          </a:r>
          <a:endParaRPr lang="en-US" dirty="0"/>
        </a:p>
      </dgm:t>
    </dgm:pt>
    <dgm:pt modelId="{3263DD43-8C89-41A8-BE0F-2D6342B076B1}" type="parTrans" cxnId="{C0E91244-D5BD-4841-8263-E23DAB8BE4FC}">
      <dgm:prSet/>
      <dgm:spPr/>
      <dgm:t>
        <a:bodyPr/>
        <a:lstStyle/>
        <a:p>
          <a:endParaRPr lang="en-US"/>
        </a:p>
      </dgm:t>
    </dgm:pt>
    <dgm:pt modelId="{12C1CD66-4539-4A7F-9B78-01DBBD1B8100}" type="sibTrans" cxnId="{C0E91244-D5BD-4841-8263-E23DAB8BE4FC}">
      <dgm:prSet/>
      <dgm:spPr/>
      <dgm:t>
        <a:bodyPr/>
        <a:lstStyle/>
        <a:p>
          <a:endParaRPr lang="en-US"/>
        </a:p>
      </dgm:t>
    </dgm:pt>
    <dgm:pt modelId="{A3118706-5854-47E1-99F9-60B76958D40D}">
      <dgm:prSet phldrT="[Text]"/>
      <dgm:spPr/>
      <dgm:t>
        <a:bodyPr/>
        <a:lstStyle/>
        <a:p>
          <a:r>
            <a:rPr lang="en-US" dirty="0" smtClean="0"/>
            <a:t>Oct</a:t>
          </a:r>
          <a:endParaRPr lang="en-US" dirty="0"/>
        </a:p>
      </dgm:t>
    </dgm:pt>
    <dgm:pt modelId="{1A80FC0B-217C-4BD6-BC95-76F75F37C9E3}" type="sibTrans" cxnId="{4A79AECB-C7D7-4F83-B69D-3072FE37BA41}">
      <dgm:prSet/>
      <dgm:spPr/>
      <dgm:t>
        <a:bodyPr/>
        <a:lstStyle/>
        <a:p>
          <a:endParaRPr lang="en-US"/>
        </a:p>
      </dgm:t>
    </dgm:pt>
    <dgm:pt modelId="{78E319EF-32FF-4203-8303-6899BD2C0DD4}" type="parTrans" cxnId="{4A79AECB-C7D7-4F83-B69D-3072FE37BA41}">
      <dgm:prSet/>
      <dgm:spPr/>
      <dgm:t>
        <a:bodyPr/>
        <a:lstStyle/>
        <a:p>
          <a:endParaRPr lang="en-US"/>
        </a:p>
      </dgm:t>
    </dgm:pt>
    <dgm:pt modelId="{48B82B5D-C215-4F45-9A70-D405D8ACBDD2}">
      <dgm:prSet phldrT="[Text]"/>
      <dgm:spPr/>
      <dgm:t>
        <a:bodyPr/>
        <a:lstStyle/>
        <a:p>
          <a:r>
            <a:rPr lang="en-US" dirty="0" smtClean="0"/>
            <a:t>Nov</a:t>
          </a:r>
          <a:endParaRPr lang="en-US" dirty="0"/>
        </a:p>
      </dgm:t>
    </dgm:pt>
    <dgm:pt modelId="{F5EBD019-5920-4E49-9DB2-ACCECF44A5A9}" type="parTrans" cxnId="{2477A9A3-BA4A-452B-B243-8E6D050F113E}">
      <dgm:prSet/>
      <dgm:spPr/>
      <dgm:t>
        <a:bodyPr/>
        <a:lstStyle/>
        <a:p>
          <a:endParaRPr lang="en-US"/>
        </a:p>
      </dgm:t>
    </dgm:pt>
    <dgm:pt modelId="{BCF9C896-D9FD-48EF-8AD4-470C31FD94C5}" type="sibTrans" cxnId="{2477A9A3-BA4A-452B-B243-8E6D050F113E}">
      <dgm:prSet/>
      <dgm:spPr/>
      <dgm:t>
        <a:bodyPr/>
        <a:lstStyle/>
        <a:p>
          <a:endParaRPr lang="en-US"/>
        </a:p>
      </dgm:t>
    </dgm:pt>
    <dgm:pt modelId="{38DD788B-20BD-47A3-96C1-DAC1E35454C2}">
      <dgm:prSet phldrT="[Text]"/>
      <dgm:spPr/>
      <dgm:t>
        <a:bodyPr/>
        <a:lstStyle/>
        <a:p>
          <a:r>
            <a:rPr lang="en-US" dirty="0" smtClean="0"/>
            <a:t>Dec</a:t>
          </a:r>
          <a:endParaRPr lang="en-US" dirty="0"/>
        </a:p>
      </dgm:t>
    </dgm:pt>
    <dgm:pt modelId="{8E930F55-01DC-4676-8F76-E7690C33C523}" type="parTrans" cxnId="{CD0EEA17-14EA-4E82-9381-B4E6E63DD886}">
      <dgm:prSet/>
      <dgm:spPr/>
      <dgm:t>
        <a:bodyPr/>
        <a:lstStyle/>
        <a:p>
          <a:endParaRPr lang="en-US"/>
        </a:p>
      </dgm:t>
    </dgm:pt>
    <dgm:pt modelId="{B73B9538-4FA5-4556-95E9-CDF918B67035}" type="sibTrans" cxnId="{CD0EEA17-14EA-4E82-9381-B4E6E63DD886}">
      <dgm:prSet/>
      <dgm:spPr/>
      <dgm:t>
        <a:bodyPr/>
        <a:lstStyle/>
        <a:p>
          <a:endParaRPr lang="en-US"/>
        </a:p>
      </dgm:t>
    </dgm:pt>
    <dgm:pt modelId="{A67B6589-B031-4B18-AA27-4C475BEEB1E3}">
      <dgm:prSet phldrT="[Text]"/>
      <dgm:spPr>
        <a:solidFill>
          <a:schemeClr val="tx2">
            <a:lumMod val="60000"/>
            <a:lumOff val="40000"/>
          </a:schemeClr>
        </a:solidFill>
      </dgm:spPr>
      <dgm:t>
        <a:bodyPr/>
        <a:lstStyle/>
        <a:p>
          <a:r>
            <a:rPr lang="en-US" dirty="0" smtClean="0"/>
            <a:t>Jan</a:t>
          </a:r>
          <a:endParaRPr lang="en-US" dirty="0"/>
        </a:p>
      </dgm:t>
    </dgm:pt>
    <dgm:pt modelId="{17120F84-0F85-4DB9-B2A0-D0EE5EC7A925}" type="parTrans" cxnId="{ED897C65-51EC-442A-88C7-84CBEAB889FA}">
      <dgm:prSet/>
      <dgm:spPr/>
      <dgm:t>
        <a:bodyPr/>
        <a:lstStyle/>
        <a:p>
          <a:endParaRPr lang="en-US"/>
        </a:p>
      </dgm:t>
    </dgm:pt>
    <dgm:pt modelId="{4F74665C-943D-45E9-95A8-A478B1F10283}" type="sibTrans" cxnId="{ED897C65-51EC-442A-88C7-84CBEAB889FA}">
      <dgm:prSet/>
      <dgm:spPr/>
      <dgm:t>
        <a:bodyPr/>
        <a:lstStyle/>
        <a:p>
          <a:endParaRPr lang="en-US"/>
        </a:p>
      </dgm:t>
    </dgm:pt>
    <dgm:pt modelId="{85BD7C13-BEA0-4B39-A36D-5C088114C034}">
      <dgm:prSet phldrT="[Text]"/>
      <dgm:spPr>
        <a:solidFill>
          <a:schemeClr val="tx2">
            <a:lumMod val="60000"/>
            <a:lumOff val="40000"/>
          </a:schemeClr>
        </a:solidFill>
      </dgm:spPr>
      <dgm:t>
        <a:bodyPr/>
        <a:lstStyle/>
        <a:p>
          <a:r>
            <a:rPr lang="en-US" dirty="0" smtClean="0"/>
            <a:t>Feb</a:t>
          </a:r>
          <a:endParaRPr lang="en-US" dirty="0"/>
        </a:p>
      </dgm:t>
    </dgm:pt>
    <dgm:pt modelId="{2B09CBE2-AD60-4309-A84F-F0CCB6510182}" type="parTrans" cxnId="{E7B15D8B-932F-445F-8FB0-23F283DD68BE}">
      <dgm:prSet/>
      <dgm:spPr/>
      <dgm:t>
        <a:bodyPr/>
        <a:lstStyle/>
        <a:p>
          <a:endParaRPr lang="en-US"/>
        </a:p>
      </dgm:t>
    </dgm:pt>
    <dgm:pt modelId="{D3F3B9A4-F30B-4B18-8B26-6D9559FF3F51}" type="sibTrans" cxnId="{E7B15D8B-932F-445F-8FB0-23F283DD68BE}">
      <dgm:prSet/>
      <dgm:spPr/>
      <dgm:t>
        <a:bodyPr/>
        <a:lstStyle/>
        <a:p>
          <a:endParaRPr lang="en-US"/>
        </a:p>
      </dgm:t>
    </dgm:pt>
    <dgm:pt modelId="{D4D141A5-F8CD-44DF-B381-37AFD657F91D}">
      <dgm:prSet phldrT="[Text]"/>
      <dgm:spPr>
        <a:solidFill>
          <a:schemeClr val="tx2">
            <a:lumMod val="60000"/>
            <a:lumOff val="40000"/>
          </a:schemeClr>
        </a:solidFill>
      </dgm:spPr>
      <dgm:t>
        <a:bodyPr/>
        <a:lstStyle/>
        <a:p>
          <a:r>
            <a:rPr lang="en-US" dirty="0" smtClean="0"/>
            <a:t>Mar</a:t>
          </a:r>
          <a:endParaRPr lang="en-US" dirty="0"/>
        </a:p>
      </dgm:t>
    </dgm:pt>
    <dgm:pt modelId="{355815AC-043A-411F-BDE4-EE0BE2037680}" type="parTrans" cxnId="{4AB522DE-7A74-4B81-8E61-842F1EA91986}">
      <dgm:prSet/>
      <dgm:spPr/>
      <dgm:t>
        <a:bodyPr/>
        <a:lstStyle/>
        <a:p>
          <a:endParaRPr lang="en-US"/>
        </a:p>
      </dgm:t>
    </dgm:pt>
    <dgm:pt modelId="{66884F31-0194-41E2-B214-5DF7EAB13744}" type="sibTrans" cxnId="{4AB522DE-7A74-4B81-8E61-842F1EA91986}">
      <dgm:prSet/>
      <dgm:spPr/>
      <dgm:t>
        <a:bodyPr/>
        <a:lstStyle/>
        <a:p>
          <a:endParaRPr lang="en-US"/>
        </a:p>
      </dgm:t>
    </dgm:pt>
    <dgm:pt modelId="{0FD21F7E-2270-42C4-85B3-3234E5459745}" type="pres">
      <dgm:prSet presAssocID="{9874AFE9-CF37-4806-8F4B-57466B5A0EC7}" presName="Name0" presStyleCnt="0">
        <dgm:presLayoutVars>
          <dgm:dir/>
          <dgm:resizeHandles val="exact"/>
        </dgm:presLayoutVars>
      </dgm:prSet>
      <dgm:spPr/>
    </dgm:pt>
    <dgm:pt modelId="{74FFE128-7E96-4B07-869D-EBD5B198AB64}" type="pres">
      <dgm:prSet presAssocID="{A3118706-5854-47E1-99F9-60B76958D40D}" presName="parTxOnly" presStyleLbl="node1" presStyleIdx="0" presStyleCnt="1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2CE2F7CB-D589-41CD-AE2B-825DAC33835B}" type="pres">
      <dgm:prSet presAssocID="{1A80FC0B-217C-4BD6-BC95-76F75F37C9E3}" presName="parSpace" presStyleCnt="0"/>
      <dgm:spPr/>
    </dgm:pt>
    <dgm:pt modelId="{56378CD0-D019-4CA3-9C2A-9AC6E60CE3DE}" type="pres">
      <dgm:prSet presAssocID="{48B82B5D-C215-4F45-9A70-D405D8ACBDD2}" presName="parTxOnly" presStyleLbl="node1" presStyleIdx="1" presStyleCnt="1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3E1E1EC9-13A2-4A40-BB39-DAD9BFF8CE2D}" type="pres">
      <dgm:prSet presAssocID="{BCF9C896-D9FD-48EF-8AD4-470C31FD94C5}" presName="parSpace" presStyleCnt="0"/>
      <dgm:spPr/>
    </dgm:pt>
    <dgm:pt modelId="{7477813B-7740-4960-94AA-95486829F972}" type="pres">
      <dgm:prSet presAssocID="{38DD788B-20BD-47A3-96C1-DAC1E35454C2}" presName="parTxOnly" presStyleLbl="node1" presStyleIdx="2" presStyleCnt="1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90E99CE2-6671-4551-82C6-0F8197A1377A}" type="pres">
      <dgm:prSet presAssocID="{B73B9538-4FA5-4556-95E9-CDF918B67035}" presName="parSpace" presStyleCnt="0"/>
      <dgm:spPr/>
    </dgm:pt>
    <dgm:pt modelId="{9E04DA8C-71E6-460C-BEC7-DAFECC38B68D}" type="pres">
      <dgm:prSet presAssocID="{A67B6589-B031-4B18-AA27-4C475BEEB1E3}" presName="parTxOnly" presStyleLbl="node1" presStyleIdx="3" presStyleCnt="1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BB23E798-8BF3-402B-A8F5-6E75D205A94D}" type="pres">
      <dgm:prSet presAssocID="{4F74665C-943D-45E9-95A8-A478B1F10283}" presName="parSpace" presStyleCnt="0"/>
      <dgm:spPr/>
    </dgm:pt>
    <dgm:pt modelId="{A1F5918A-408D-4FC4-938F-BA8A37A1523D}" type="pres">
      <dgm:prSet presAssocID="{85BD7C13-BEA0-4B39-A36D-5C088114C034}" presName="parTxOnly" presStyleLbl="node1" presStyleIdx="4" presStyleCnt="1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68EEAF93-3469-4EFA-80CD-56831234297D}" type="pres">
      <dgm:prSet presAssocID="{D3F3B9A4-F30B-4B18-8B26-6D9559FF3F51}" presName="parSpace" presStyleCnt="0"/>
      <dgm:spPr/>
    </dgm:pt>
    <dgm:pt modelId="{095CD3A7-D933-4A1A-976B-B4C0E08F7FB5}" type="pres">
      <dgm:prSet presAssocID="{D4D141A5-F8CD-44DF-B381-37AFD657F91D}" presName="parTxOnly" presStyleLbl="node1" presStyleIdx="5" presStyleCnt="1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D048F005-D6FC-4144-86F2-CB0B7FE35105}" type="pres">
      <dgm:prSet presAssocID="{66884F31-0194-41E2-B214-5DF7EAB13744}" presName="parSpace" presStyleCnt="0"/>
      <dgm:spPr/>
    </dgm:pt>
    <dgm:pt modelId="{03119A5F-A3A0-4A09-837F-6B1BF5B52867}" type="pres">
      <dgm:prSet presAssocID="{04B8BB93-D0B6-4165-BE93-D383FFFA91DD}" presName="parTxOnly" presStyleLbl="node1" presStyleIdx="6" presStyleCnt="1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85B70D6C-9D59-48A4-820B-285F1A67F4BC}" type="pres">
      <dgm:prSet presAssocID="{E3354D68-789A-456F-B052-7EAEDF21DAFD}" presName="parSpace" presStyleCnt="0"/>
      <dgm:spPr/>
    </dgm:pt>
    <dgm:pt modelId="{CB295E5A-3171-4DFF-86C7-96394055997A}" type="pres">
      <dgm:prSet presAssocID="{9BE3DDD2-63DE-4B65-BFA3-97EF3E5CE2F4}" presName="parTxOnly" presStyleLbl="node1" presStyleIdx="7" presStyleCnt="1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D97CEDEB-91CF-4654-8D5C-AB56AB10E909}" type="pres">
      <dgm:prSet presAssocID="{56611181-5D74-4872-96E7-86280A6A99EB}" presName="parSpace" presStyleCnt="0"/>
      <dgm:spPr/>
    </dgm:pt>
    <dgm:pt modelId="{470FFEE6-087B-437E-A22D-51D85A4A8A75}" type="pres">
      <dgm:prSet presAssocID="{9D847D35-02AB-4258-9093-A9E7B88C36DE}" presName="parTxOnly" presStyleLbl="node1" presStyleIdx="8" presStyleCnt="1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D8784B53-2F35-435D-A9AB-F8E663AEC665}" type="pres">
      <dgm:prSet presAssocID="{BC9C67E1-DF3F-4B6E-B660-064EC531C77F}" presName="parSpace" presStyleCnt="0"/>
      <dgm:spPr/>
    </dgm:pt>
    <dgm:pt modelId="{046A912A-5272-475E-9AD1-DE3658B2D75F}" type="pres">
      <dgm:prSet presAssocID="{A52F3A5C-2551-4AB3-94DB-FA7FF6EBD1E0}" presName="parTxOnly" presStyleLbl="node1" presStyleIdx="9" presStyleCnt="1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42288DEE-0BB7-4180-8E85-C25B52D7DD9F}" type="pres">
      <dgm:prSet presAssocID="{85C75A77-64EE-4EC8-B6AA-974B28545AEE}" presName="parSpace" presStyleCnt="0"/>
      <dgm:spPr/>
    </dgm:pt>
    <dgm:pt modelId="{6F7658C2-AB0B-417C-AAB9-C7AAA24EEFAB}" type="pres">
      <dgm:prSet presAssocID="{4EF3B962-2EDE-473A-80DF-1707B4BB465F}" presName="parTxOnly" presStyleLbl="node1" presStyleIdx="10" presStyleCnt="1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DA5E178B-C47C-483B-9D59-1AAF6D9A4D5F}" type="pres">
      <dgm:prSet presAssocID="{8C42F782-D1ED-49B6-8DFA-B3250AAD2BA1}" presName="parSpace" presStyleCnt="0"/>
      <dgm:spPr/>
    </dgm:pt>
    <dgm:pt modelId="{5198E00D-FBC2-4746-95C7-EC6AFE309BB9}" type="pres">
      <dgm:prSet presAssocID="{61262CF0-6997-4D06-872E-E1DC4CAB54D9}" presName="parTxOnly" presStyleLbl="node1" presStyleIdx="11" presStyleCnt="1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4837AB58-7CBB-4207-81E0-D50316C791CB}" type="pres">
      <dgm:prSet presAssocID="{55AC27EF-69F7-4B67-83E1-14920CB03186}" presName="parSpace" presStyleCnt="0"/>
      <dgm:spPr/>
    </dgm:pt>
    <dgm:pt modelId="{3AC1FCC6-239D-48F1-B804-05781A59E4BB}" type="pres">
      <dgm:prSet presAssocID="{55EFBFD3-09F9-43D9-86A7-DA21C6B614E2}" presName="parTxOnly" presStyleLbl="node1" presStyleIdx="12" presStyleCnt="1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2477A9A3-BA4A-452B-B243-8E6D050F113E}" srcId="{9874AFE9-CF37-4806-8F4B-57466B5A0EC7}" destId="{48B82B5D-C215-4F45-9A70-D405D8ACBDD2}" srcOrd="1" destOrd="0" parTransId="{F5EBD019-5920-4E49-9DB2-ACCECF44A5A9}" sibTransId="{BCF9C896-D9FD-48EF-8AD4-470C31FD94C5}"/>
    <dgm:cxn modelId="{CD0EEA17-14EA-4E82-9381-B4E6E63DD886}" srcId="{9874AFE9-CF37-4806-8F4B-57466B5A0EC7}" destId="{38DD788B-20BD-47A3-96C1-DAC1E35454C2}" srcOrd="2" destOrd="0" parTransId="{8E930F55-01DC-4676-8F76-E7690C33C523}" sibTransId="{B73B9538-4FA5-4556-95E9-CDF918B67035}"/>
    <dgm:cxn modelId="{FB0F4E0E-6787-4F4D-A063-33E90436448E}" type="presOf" srcId="{A3118706-5854-47E1-99F9-60B76958D40D}" destId="{74FFE128-7E96-4B07-869D-EBD5B198AB64}" srcOrd="0" destOrd="0" presId="urn:microsoft.com/office/officeart/2005/8/layout/hChevron3"/>
    <dgm:cxn modelId="{C9CA7D7A-89FD-42D4-A889-BB6826565BE8}" srcId="{9874AFE9-CF37-4806-8F4B-57466B5A0EC7}" destId="{61262CF0-6997-4D06-872E-E1DC4CAB54D9}" srcOrd="11" destOrd="0" parTransId="{24AB4F04-E326-446E-95C7-7CB1CFEA9771}" sibTransId="{55AC27EF-69F7-4B67-83E1-14920CB03186}"/>
    <dgm:cxn modelId="{DEB1DD6C-1AF1-41C3-930A-F5C9297E6735}" type="presOf" srcId="{9D847D35-02AB-4258-9093-A9E7B88C36DE}" destId="{470FFEE6-087B-437E-A22D-51D85A4A8A75}" srcOrd="0" destOrd="0" presId="urn:microsoft.com/office/officeart/2005/8/layout/hChevron3"/>
    <dgm:cxn modelId="{2BC58AE2-8F3F-4884-A60F-BECD3B800A0D}" srcId="{9874AFE9-CF37-4806-8F4B-57466B5A0EC7}" destId="{4EF3B962-2EDE-473A-80DF-1707B4BB465F}" srcOrd="10" destOrd="0" parTransId="{26BF528E-D14B-420D-A881-86F6587041AA}" sibTransId="{8C42F782-D1ED-49B6-8DFA-B3250AAD2BA1}"/>
    <dgm:cxn modelId="{FCD22BB0-348B-4449-8C37-84A1806BFE6F}" srcId="{9874AFE9-CF37-4806-8F4B-57466B5A0EC7}" destId="{9D847D35-02AB-4258-9093-A9E7B88C36DE}" srcOrd="8" destOrd="0" parTransId="{884C82A3-4C6A-42B8-AF5A-16289184F4CC}" sibTransId="{BC9C67E1-DF3F-4B6E-B660-064EC531C77F}"/>
    <dgm:cxn modelId="{06E7C7DC-1C7E-4953-90C6-25717D67F178}" type="presOf" srcId="{9BE3DDD2-63DE-4B65-BFA3-97EF3E5CE2F4}" destId="{CB295E5A-3171-4DFF-86C7-96394055997A}" srcOrd="0" destOrd="0" presId="urn:microsoft.com/office/officeart/2005/8/layout/hChevron3"/>
    <dgm:cxn modelId="{2923CBA9-4AE8-4717-A1E1-5D1467061A54}" srcId="{9874AFE9-CF37-4806-8F4B-57466B5A0EC7}" destId="{9BE3DDD2-63DE-4B65-BFA3-97EF3E5CE2F4}" srcOrd="7" destOrd="0" parTransId="{D80721B6-C220-4B8F-AD8E-A4F30E3C8CEE}" sibTransId="{56611181-5D74-4872-96E7-86280A6A99EB}"/>
    <dgm:cxn modelId="{67298731-93C0-49C0-A90F-E28F1455135A}" type="presOf" srcId="{48B82B5D-C215-4F45-9A70-D405D8ACBDD2}" destId="{56378CD0-D019-4CA3-9C2A-9AC6E60CE3DE}" srcOrd="0" destOrd="0" presId="urn:microsoft.com/office/officeart/2005/8/layout/hChevron3"/>
    <dgm:cxn modelId="{8FD6F35D-2BDA-4742-AA29-19A17F07945C}" type="presOf" srcId="{55EFBFD3-09F9-43D9-86A7-DA21C6B614E2}" destId="{3AC1FCC6-239D-48F1-B804-05781A59E4BB}" srcOrd="0" destOrd="0" presId="urn:microsoft.com/office/officeart/2005/8/layout/hChevron3"/>
    <dgm:cxn modelId="{1D41FE05-46E3-435A-8696-F8DBEA183811}" type="presOf" srcId="{9874AFE9-CF37-4806-8F4B-57466B5A0EC7}" destId="{0FD21F7E-2270-42C4-85B3-3234E5459745}" srcOrd="0" destOrd="0" presId="urn:microsoft.com/office/officeart/2005/8/layout/hChevron3"/>
    <dgm:cxn modelId="{C44E1E3A-CF3A-48C3-928E-F5EB029801E2}" type="presOf" srcId="{61262CF0-6997-4D06-872E-E1DC4CAB54D9}" destId="{5198E00D-FBC2-4746-95C7-EC6AFE309BB9}" srcOrd="0" destOrd="0" presId="urn:microsoft.com/office/officeart/2005/8/layout/hChevron3"/>
    <dgm:cxn modelId="{A5FFD4AE-BBC1-44D0-913A-871E07A52C7D}" type="presOf" srcId="{D4D141A5-F8CD-44DF-B381-37AFD657F91D}" destId="{095CD3A7-D933-4A1A-976B-B4C0E08F7FB5}" srcOrd="0" destOrd="0" presId="urn:microsoft.com/office/officeart/2005/8/layout/hChevron3"/>
    <dgm:cxn modelId="{15AB4BB9-141A-4465-8972-5001684DE0CE}" srcId="{9874AFE9-CF37-4806-8F4B-57466B5A0EC7}" destId="{A52F3A5C-2551-4AB3-94DB-FA7FF6EBD1E0}" srcOrd="9" destOrd="0" parTransId="{12CB1107-D9CA-4C44-9F69-9DBEA15A3438}" sibTransId="{85C75A77-64EE-4EC8-B6AA-974B28545AEE}"/>
    <dgm:cxn modelId="{86C4A3D3-3316-4EC6-9266-AA1E6B5DCB97}" type="presOf" srcId="{A67B6589-B031-4B18-AA27-4C475BEEB1E3}" destId="{9E04DA8C-71E6-460C-BEC7-DAFECC38B68D}" srcOrd="0" destOrd="0" presId="urn:microsoft.com/office/officeart/2005/8/layout/hChevron3"/>
    <dgm:cxn modelId="{B147B4CA-3AB0-46D5-A55A-7E4B5425DAC3}" type="presOf" srcId="{85BD7C13-BEA0-4B39-A36D-5C088114C034}" destId="{A1F5918A-408D-4FC4-938F-BA8A37A1523D}" srcOrd="0" destOrd="0" presId="urn:microsoft.com/office/officeart/2005/8/layout/hChevron3"/>
    <dgm:cxn modelId="{E7B15D8B-932F-445F-8FB0-23F283DD68BE}" srcId="{9874AFE9-CF37-4806-8F4B-57466B5A0EC7}" destId="{85BD7C13-BEA0-4B39-A36D-5C088114C034}" srcOrd="4" destOrd="0" parTransId="{2B09CBE2-AD60-4309-A84F-F0CCB6510182}" sibTransId="{D3F3B9A4-F30B-4B18-8B26-6D9559FF3F51}"/>
    <dgm:cxn modelId="{35A7B336-A586-4AE2-B7E7-86A3F761E5CC}" type="presOf" srcId="{4EF3B962-2EDE-473A-80DF-1707B4BB465F}" destId="{6F7658C2-AB0B-417C-AAB9-C7AAA24EEFAB}" srcOrd="0" destOrd="0" presId="urn:microsoft.com/office/officeart/2005/8/layout/hChevron3"/>
    <dgm:cxn modelId="{876B5C48-1DA4-4955-9C23-1198555BACE0}" type="presOf" srcId="{04B8BB93-D0B6-4165-BE93-D383FFFA91DD}" destId="{03119A5F-A3A0-4A09-837F-6B1BF5B52867}" srcOrd="0" destOrd="0" presId="urn:microsoft.com/office/officeart/2005/8/layout/hChevron3"/>
    <dgm:cxn modelId="{C0E91244-D5BD-4841-8263-E23DAB8BE4FC}" srcId="{9874AFE9-CF37-4806-8F4B-57466B5A0EC7}" destId="{55EFBFD3-09F9-43D9-86A7-DA21C6B614E2}" srcOrd="12" destOrd="0" parTransId="{3263DD43-8C89-41A8-BE0F-2D6342B076B1}" sibTransId="{12C1CD66-4539-4A7F-9B78-01DBBD1B8100}"/>
    <dgm:cxn modelId="{4A79AECB-C7D7-4F83-B69D-3072FE37BA41}" srcId="{9874AFE9-CF37-4806-8F4B-57466B5A0EC7}" destId="{A3118706-5854-47E1-99F9-60B76958D40D}" srcOrd="0" destOrd="0" parTransId="{78E319EF-32FF-4203-8303-6899BD2C0DD4}" sibTransId="{1A80FC0B-217C-4BD6-BC95-76F75F37C9E3}"/>
    <dgm:cxn modelId="{4AB522DE-7A74-4B81-8E61-842F1EA91986}" srcId="{9874AFE9-CF37-4806-8F4B-57466B5A0EC7}" destId="{D4D141A5-F8CD-44DF-B381-37AFD657F91D}" srcOrd="5" destOrd="0" parTransId="{355815AC-043A-411F-BDE4-EE0BE2037680}" sibTransId="{66884F31-0194-41E2-B214-5DF7EAB13744}"/>
    <dgm:cxn modelId="{47A06C79-6CED-4F74-B186-4011B8C5A98C}" type="presOf" srcId="{A52F3A5C-2551-4AB3-94DB-FA7FF6EBD1E0}" destId="{046A912A-5272-475E-9AD1-DE3658B2D75F}" srcOrd="0" destOrd="0" presId="urn:microsoft.com/office/officeart/2005/8/layout/hChevron3"/>
    <dgm:cxn modelId="{53623C71-B8B1-4646-A796-740BA471CA53}" type="presOf" srcId="{38DD788B-20BD-47A3-96C1-DAC1E35454C2}" destId="{7477813B-7740-4960-94AA-95486829F972}" srcOrd="0" destOrd="0" presId="urn:microsoft.com/office/officeart/2005/8/layout/hChevron3"/>
    <dgm:cxn modelId="{ED897C65-51EC-442A-88C7-84CBEAB889FA}" srcId="{9874AFE9-CF37-4806-8F4B-57466B5A0EC7}" destId="{A67B6589-B031-4B18-AA27-4C475BEEB1E3}" srcOrd="3" destOrd="0" parTransId="{17120F84-0F85-4DB9-B2A0-D0EE5EC7A925}" sibTransId="{4F74665C-943D-45E9-95A8-A478B1F10283}"/>
    <dgm:cxn modelId="{DABDDDD7-2BC0-4324-A0CF-56FB3A9C97A9}" srcId="{9874AFE9-CF37-4806-8F4B-57466B5A0EC7}" destId="{04B8BB93-D0B6-4165-BE93-D383FFFA91DD}" srcOrd="6" destOrd="0" parTransId="{3B14DAC7-5508-45CE-BCB1-DAD05B2A133F}" sibTransId="{E3354D68-789A-456F-B052-7EAEDF21DAFD}"/>
    <dgm:cxn modelId="{040A0262-2267-44F9-964C-CA0B10202DA2}" type="presParOf" srcId="{0FD21F7E-2270-42C4-85B3-3234E5459745}" destId="{74FFE128-7E96-4B07-869D-EBD5B198AB64}" srcOrd="0" destOrd="0" presId="urn:microsoft.com/office/officeart/2005/8/layout/hChevron3"/>
    <dgm:cxn modelId="{495E97B5-BFC6-43B4-B8A2-CC8EC4359891}" type="presParOf" srcId="{0FD21F7E-2270-42C4-85B3-3234E5459745}" destId="{2CE2F7CB-D589-41CD-AE2B-825DAC33835B}" srcOrd="1" destOrd="0" presId="urn:microsoft.com/office/officeart/2005/8/layout/hChevron3"/>
    <dgm:cxn modelId="{748F5223-289F-425C-AD46-E053B768756C}" type="presParOf" srcId="{0FD21F7E-2270-42C4-85B3-3234E5459745}" destId="{56378CD0-D019-4CA3-9C2A-9AC6E60CE3DE}" srcOrd="2" destOrd="0" presId="urn:microsoft.com/office/officeart/2005/8/layout/hChevron3"/>
    <dgm:cxn modelId="{E5A29373-2C05-4B92-BDF6-2E57AE19CDD9}" type="presParOf" srcId="{0FD21F7E-2270-42C4-85B3-3234E5459745}" destId="{3E1E1EC9-13A2-4A40-BB39-DAD9BFF8CE2D}" srcOrd="3" destOrd="0" presId="urn:microsoft.com/office/officeart/2005/8/layout/hChevron3"/>
    <dgm:cxn modelId="{54DEE6AD-6218-4B34-82FF-224E2A37E55A}" type="presParOf" srcId="{0FD21F7E-2270-42C4-85B3-3234E5459745}" destId="{7477813B-7740-4960-94AA-95486829F972}" srcOrd="4" destOrd="0" presId="urn:microsoft.com/office/officeart/2005/8/layout/hChevron3"/>
    <dgm:cxn modelId="{C485FE23-36DA-4799-ABE8-D828A2BC6885}" type="presParOf" srcId="{0FD21F7E-2270-42C4-85B3-3234E5459745}" destId="{90E99CE2-6671-4551-82C6-0F8197A1377A}" srcOrd="5" destOrd="0" presId="urn:microsoft.com/office/officeart/2005/8/layout/hChevron3"/>
    <dgm:cxn modelId="{A482ADF5-1265-467D-A55A-15B9A4127152}" type="presParOf" srcId="{0FD21F7E-2270-42C4-85B3-3234E5459745}" destId="{9E04DA8C-71E6-460C-BEC7-DAFECC38B68D}" srcOrd="6" destOrd="0" presId="urn:microsoft.com/office/officeart/2005/8/layout/hChevron3"/>
    <dgm:cxn modelId="{5F65C9B1-AD5B-4C40-9921-CD67612F02D7}" type="presParOf" srcId="{0FD21F7E-2270-42C4-85B3-3234E5459745}" destId="{BB23E798-8BF3-402B-A8F5-6E75D205A94D}" srcOrd="7" destOrd="0" presId="urn:microsoft.com/office/officeart/2005/8/layout/hChevron3"/>
    <dgm:cxn modelId="{FBF8F5BF-D007-4FBB-A25B-53E516D2FD50}" type="presParOf" srcId="{0FD21F7E-2270-42C4-85B3-3234E5459745}" destId="{A1F5918A-408D-4FC4-938F-BA8A37A1523D}" srcOrd="8" destOrd="0" presId="urn:microsoft.com/office/officeart/2005/8/layout/hChevron3"/>
    <dgm:cxn modelId="{A94E1F23-68C5-4B74-BC08-6809B6299BDA}" type="presParOf" srcId="{0FD21F7E-2270-42C4-85B3-3234E5459745}" destId="{68EEAF93-3469-4EFA-80CD-56831234297D}" srcOrd="9" destOrd="0" presId="urn:microsoft.com/office/officeart/2005/8/layout/hChevron3"/>
    <dgm:cxn modelId="{5EAA8D27-4568-429D-BBCB-97FB15C32963}" type="presParOf" srcId="{0FD21F7E-2270-42C4-85B3-3234E5459745}" destId="{095CD3A7-D933-4A1A-976B-B4C0E08F7FB5}" srcOrd="10" destOrd="0" presId="urn:microsoft.com/office/officeart/2005/8/layout/hChevron3"/>
    <dgm:cxn modelId="{3FF5FD25-35D4-4585-9DF4-0D6C6188E91B}" type="presParOf" srcId="{0FD21F7E-2270-42C4-85B3-3234E5459745}" destId="{D048F005-D6FC-4144-86F2-CB0B7FE35105}" srcOrd="11" destOrd="0" presId="urn:microsoft.com/office/officeart/2005/8/layout/hChevron3"/>
    <dgm:cxn modelId="{D3C96432-2E25-454E-BA66-162650D34BAF}" type="presParOf" srcId="{0FD21F7E-2270-42C4-85B3-3234E5459745}" destId="{03119A5F-A3A0-4A09-837F-6B1BF5B52867}" srcOrd="12" destOrd="0" presId="urn:microsoft.com/office/officeart/2005/8/layout/hChevron3"/>
    <dgm:cxn modelId="{F0C9D316-9969-460C-97C3-788688A4C678}" type="presParOf" srcId="{0FD21F7E-2270-42C4-85B3-3234E5459745}" destId="{85B70D6C-9D59-48A4-820B-285F1A67F4BC}" srcOrd="13" destOrd="0" presId="urn:microsoft.com/office/officeart/2005/8/layout/hChevron3"/>
    <dgm:cxn modelId="{DD875486-F728-4EF0-B542-ADBD7147E095}" type="presParOf" srcId="{0FD21F7E-2270-42C4-85B3-3234E5459745}" destId="{CB295E5A-3171-4DFF-86C7-96394055997A}" srcOrd="14" destOrd="0" presId="urn:microsoft.com/office/officeart/2005/8/layout/hChevron3"/>
    <dgm:cxn modelId="{63AC1324-3379-4907-8341-786BDACBDAC4}" type="presParOf" srcId="{0FD21F7E-2270-42C4-85B3-3234E5459745}" destId="{D97CEDEB-91CF-4654-8D5C-AB56AB10E909}" srcOrd="15" destOrd="0" presId="urn:microsoft.com/office/officeart/2005/8/layout/hChevron3"/>
    <dgm:cxn modelId="{BF76B4AB-4451-4822-A334-94122FC69C39}" type="presParOf" srcId="{0FD21F7E-2270-42C4-85B3-3234E5459745}" destId="{470FFEE6-087B-437E-A22D-51D85A4A8A75}" srcOrd="16" destOrd="0" presId="urn:microsoft.com/office/officeart/2005/8/layout/hChevron3"/>
    <dgm:cxn modelId="{F2FEFD3A-7927-4AC9-AFE9-ED06E97734E9}" type="presParOf" srcId="{0FD21F7E-2270-42C4-85B3-3234E5459745}" destId="{D8784B53-2F35-435D-A9AB-F8E663AEC665}" srcOrd="17" destOrd="0" presId="urn:microsoft.com/office/officeart/2005/8/layout/hChevron3"/>
    <dgm:cxn modelId="{36F6515D-1E67-43A7-8FE3-148BE21A4049}" type="presParOf" srcId="{0FD21F7E-2270-42C4-85B3-3234E5459745}" destId="{046A912A-5272-475E-9AD1-DE3658B2D75F}" srcOrd="18" destOrd="0" presId="urn:microsoft.com/office/officeart/2005/8/layout/hChevron3"/>
    <dgm:cxn modelId="{AAC74D46-8BC2-4113-B122-6B36A7FD573E}" type="presParOf" srcId="{0FD21F7E-2270-42C4-85B3-3234E5459745}" destId="{42288DEE-0BB7-4180-8E85-C25B52D7DD9F}" srcOrd="19" destOrd="0" presId="urn:microsoft.com/office/officeart/2005/8/layout/hChevron3"/>
    <dgm:cxn modelId="{EE8175C3-D9F7-4928-9DAE-4CF531E914F7}" type="presParOf" srcId="{0FD21F7E-2270-42C4-85B3-3234E5459745}" destId="{6F7658C2-AB0B-417C-AAB9-C7AAA24EEFAB}" srcOrd="20" destOrd="0" presId="urn:microsoft.com/office/officeart/2005/8/layout/hChevron3"/>
    <dgm:cxn modelId="{DFC6BDE2-A7B0-4C39-A69D-DD1D38490B7A}" type="presParOf" srcId="{0FD21F7E-2270-42C4-85B3-3234E5459745}" destId="{DA5E178B-C47C-483B-9D59-1AAF6D9A4D5F}" srcOrd="21" destOrd="0" presId="urn:microsoft.com/office/officeart/2005/8/layout/hChevron3"/>
    <dgm:cxn modelId="{00E5CA65-352A-472A-B7FD-940FDCFA2D0E}" type="presParOf" srcId="{0FD21F7E-2270-42C4-85B3-3234E5459745}" destId="{5198E00D-FBC2-4746-95C7-EC6AFE309BB9}" srcOrd="22" destOrd="0" presId="urn:microsoft.com/office/officeart/2005/8/layout/hChevron3"/>
    <dgm:cxn modelId="{D994E2FE-DA2E-4804-8947-27D7C900DD79}" type="presParOf" srcId="{0FD21F7E-2270-42C4-85B3-3234E5459745}" destId="{4837AB58-7CBB-4207-81E0-D50316C791CB}" srcOrd="23" destOrd="0" presId="urn:microsoft.com/office/officeart/2005/8/layout/hChevron3"/>
    <dgm:cxn modelId="{803C236F-DB21-472E-9A4F-9CCAD712F7C2}" type="presParOf" srcId="{0FD21F7E-2270-42C4-85B3-3234E5459745}" destId="{3AC1FCC6-239D-48F1-B804-05781A59E4BB}" srcOrd="24" destOrd="0" presId="urn:microsoft.com/office/officeart/2005/8/layout/hChevron3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9874AFE9-CF37-4806-8F4B-57466B5A0EC7}" type="doc">
      <dgm:prSet loTypeId="urn:microsoft.com/office/officeart/2005/8/layout/hChevron3" loCatId="process" qsTypeId="urn:microsoft.com/office/officeart/2005/8/quickstyle/simple1" qsCatId="simple" csTypeId="urn:microsoft.com/office/officeart/2005/8/colors/accent1_2" csCatId="accent1" phldr="1"/>
      <dgm:spPr/>
    </dgm:pt>
    <dgm:pt modelId="{04B8BB93-D0B6-4165-BE93-D383FFFA91DD}">
      <dgm:prSet phldrT="[Text]"/>
      <dgm:spPr>
        <a:solidFill>
          <a:schemeClr val="tx2">
            <a:lumMod val="60000"/>
            <a:lumOff val="40000"/>
          </a:schemeClr>
        </a:solidFill>
      </dgm:spPr>
      <dgm:t>
        <a:bodyPr/>
        <a:lstStyle/>
        <a:p>
          <a:r>
            <a:rPr lang="en-US" dirty="0" smtClean="0"/>
            <a:t>Sep</a:t>
          </a:r>
          <a:endParaRPr lang="en-US" dirty="0"/>
        </a:p>
      </dgm:t>
    </dgm:pt>
    <dgm:pt modelId="{3B14DAC7-5508-45CE-BCB1-DAD05B2A133F}" type="parTrans" cxnId="{DABDDDD7-2BC0-4324-A0CF-56FB3A9C97A9}">
      <dgm:prSet/>
      <dgm:spPr/>
      <dgm:t>
        <a:bodyPr/>
        <a:lstStyle/>
        <a:p>
          <a:endParaRPr lang="en-US"/>
        </a:p>
      </dgm:t>
    </dgm:pt>
    <dgm:pt modelId="{E3354D68-789A-456F-B052-7EAEDF21DAFD}" type="sibTrans" cxnId="{DABDDDD7-2BC0-4324-A0CF-56FB3A9C97A9}">
      <dgm:prSet/>
      <dgm:spPr/>
      <dgm:t>
        <a:bodyPr/>
        <a:lstStyle/>
        <a:p>
          <a:endParaRPr lang="en-US"/>
        </a:p>
      </dgm:t>
    </dgm:pt>
    <dgm:pt modelId="{9BE3DDD2-63DE-4B65-BFA3-97EF3E5CE2F4}">
      <dgm:prSet phldrT="[Text]"/>
      <dgm:spPr>
        <a:solidFill>
          <a:schemeClr val="tx2">
            <a:lumMod val="60000"/>
            <a:lumOff val="40000"/>
          </a:schemeClr>
        </a:solidFill>
      </dgm:spPr>
      <dgm:t>
        <a:bodyPr/>
        <a:lstStyle/>
        <a:p>
          <a:r>
            <a:rPr lang="en-US" dirty="0" smtClean="0"/>
            <a:t>Oct</a:t>
          </a:r>
          <a:endParaRPr lang="en-US" dirty="0"/>
        </a:p>
      </dgm:t>
    </dgm:pt>
    <dgm:pt modelId="{D80721B6-C220-4B8F-AD8E-A4F30E3C8CEE}" type="parTrans" cxnId="{2923CBA9-4AE8-4717-A1E1-5D1467061A54}">
      <dgm:prSet/>
      <dgm:spPr/>
      <dgm:t>
        <a:bodyPr/>
        <a:lstStyle/>
        <a:p>
          <a:endParaRPr lang="en-US"/>
        </a:p>
      </dgm:t>
    </dgm:pt>
    <dgm:pt modelId="{56611181-5D74-4872-96E7-86280A6A99EB}" type="sibTrans" cxnId="{2923CBA9-4AE8-4717-A1E1-5D1467061A54}">
      <dgm:prSet/>
      <dgm:spPr/>
      <dgm:t>
        <a:bodyPr/>
        <a:lstStyle/>
        <a:p>
          <a:endParaRPr lang="en-US"/>
        </a:p>
      </dgm:t>
    </dgm:pt>
    <dgm:pt modelId="{A67B6589-B031-4B18-AA27-4C475BEEB1E3}">
      <dgm:prSet phldrT="[Text]"/>
      <dgm:spPr>
        <a:solidFill>
          <a:schemeClr val="tx2">
            <a:lumMod val="60000"/>
            <a:lumOff val="40000"/>
          </a:schemeClr>
        </a:solidFill>
      </dgm:spPr>
      <dgm:t>
        <a:bodyPr/>
        <a:lstStyle/>
        <a:p>
          <a:r>
            <a:rPr lang="en-US" dirty="0" smtClean="0"/>
            <a:t>Jun</a:t>
          </a:r>
          <a:endParaRPr lang="en-US" dirty="0"/>
        </a:p>
      </dgm:t>
    </dgm:pt>
    <dgm:pt modelId="{17120F84-0F85-4DB9-B2A0-D0EE5EC7A925}" type="parTrans" cxnId="{ED897C65-51EC-442A-88C7-84CBEAB889FA}">
      <dgm:prSet/>
      <dgm:spPr/>
      <dgm:t>
        <a:bodyPr/>
        <a:lstStyle/>
        <a:p>
          <a:endParaRPr lang="en-US"/>
        </a:p>
      </dgm:t>
    </dgm:pt>
    <dgm:pt modelId="{4F74665C-943D-45E9-95A8-A478B1F10283}" type="sibTrans" cxnId="{ED897C65-51EC-442A-88C7-84CBEAB889FA}">
      <dgm:prSet/>
      <dgm:spPr/>
      <dgm:t>
        <a:bodyPr/>
        <a:lstStyle/>
        <a:p>
          <a:endParaRPr lang="en-US"/>
        </a:p>
      </dgm:t>
    </dgm:pt>
    <dgm:pt modelId="{85BD7C13-BEA0-4B39-A36D-5C088114C034}">
      <dgm:prSet phldrT="[Text]"/>
      <dgm:spPr>
        <a:solidFill>
          <a:schemeClr val="tx2">
            <a:lumMod val="60000"/>
            <a:lumOff val="40000"/>
          </a:schemeClr>
        </a:solidFill>
      </dgm:spPr>
      <dgm:t>
        <a:bodyPr/>
        <a:lstStyle/>
        <a:p>
          <a:r>
            <a:rPr lang="en-US" dirty="0" smtClean="0"/>
            <a:t>Jul</a:t>
          </a:r>
          <a:endParaRPr lang="en-US" dirty="0"/>
        </a:p>
      </dgm:t>
    </dgm:pt>
    <dgm:pt modelId="{2B09CBE2-AD60-4309-A84F-F0CCB6510182}" type="parTrans" cxnId="{E7B15D8B-932F-445F-8FB0-23F283DD68BE}">
      <dgm:prSet/>
      <dgm:spPr/>
      <dgm:t>
        <a:bodyPr/>
        <a:lstStyle/>
        <a:p>
          <a:endParaRPr lang="en-US"/>
        </a:p>
      </dgm:t>
    </dgm:pt>
    <dgm:pt modelId="{D3F3B9A4-F30B-4B18-8B26-6D9559FF3F51}" type="sibTrans" cxnId="{E7B15D8B-932F-445F-8FB0-23F283DD68BE}">
      <dgm:prSet/>
      <dgm:spPr/>
      <dgm:t>
        <a:bodyPr/>
        <a:lstStyle/>
        <a:p>
          <a:endParaRPr lang="en-US"/>
        </a:p>
      </dgm:t>
    </dgm:pt>
    <dgm:pt modelId="{D4D141A5-F8CD-44DF-B381-37AFD657F91D}">
      <dgm:prSet phldrT="[Text]"/>
      <dgm:spPr>
        <a:solidFill>
          <a:schemeClr val="tx2">
            <a:lumMod val="60000"/>
            <a:lumOff val="40000"/>
          </a:schemeClr>
        </a:solidFill>
      </dgm:spPr>
      <dgm:t>
        <a:bodyPr/>
        <a:lstStyle/>
        <a:p>
          <a:r>
            <a:rPr lang="en-US" dirty="0" smtClean="0"/>
            <a:t>Aug</a:t>
          </a:r>
          <a:endParaRPr lang="en-US" dirty="0"/>
        </a:p>
      </dgm:t>
    </dgm:pt>
    <dgm:pt modelId="{355815AC-043A-411F-BDE4-EE0BE2037680}" type="parTrans" cxnId="{4AB522DE-7A74-4B81-8E61-842F1EA91986}">
      <dgm:prSet/>
      <dgm:spPr/>
      <dgm:t>
        <a:bodyPr/>
        <a:lstStyle/>
        <a:p>
          <a:endParaRPr lang="en-US"/>
        </a:p>
      </dgm:t>
    </dgm:pt>
    <dgm:pt modelId="{66884F31-0194-41E2-B214-5DF7EAB13744}" type="sibTrans" cxnId="{4AB522DE-7A74-4B81-8E61-842F1EA91986}">
      <dgm:prSet/>
      <dgm:spPr/>
      <dgm:t>
        <a:bodyPr/>
        <a:lstStyle/>
        <a:p>
          <a:endParaRPr lang="en-US"/>
        </a:p>
      </dgm:t>
    </dgm:pt>
    <dgm:pt modelId="{0FD21F7E-2270-42C4-85B3-3234E5459745}" type="pres">
      <dgm:prSet presAssocID="{9874AFE9-CF37-4806-8F4B-57466B5A0EC7}" presName="Name0" presStyleCnt="0">
        <dgm:presLayoutVars>
          <dgm:dir/>
          <dgm:resizeHandles val="exact"/>
        </dgm:presLayoutVars>
      </dgm:prSet>
      <dgm:spPr/>
    </dgm:pt>
    <dgm:pt modelId="{9E04DA8C-71E6-460C-BEC7-DAFECC38B68D}" type="pres">
      <dgm:prSet presAssocID="{A67B6589-B031-4B18-AA27-4C475BEEB1E3}" presName="parTxOnly" presStyleLbl="node1" presStyleIdx="0" presStyleCnt="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BB23E798-8BF3-402B-A8F5-6E75D205A94D}" type="pres">
      <dgm:prSet presAssocID="{4F74665C-943D-45E9-95A8-A478B1F10283}" presName="parSpace" presStyleCnt="0"/>
      <dgm:spPr/>
    </dgm:pt>
    <dgm:pt modelId="{A1F5918A-408D-4FC4-938F-BA8A37A1523D}" type="pres">
      <dgm:prSet presAssocID="{85BD7C13-BEA0-4B39-A36D-5C088114C034}" presName="parTxOnly" presStyleLbl="node1" presStyleIdx="1" presStyleCnt="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68EEAF93-3469-4EFA-80CD-56831234297D}" type="pres">
      <dgm:prSet presAssocID="{D3F3B9A4-F30B-4B18-8B26-6D9559FF3F51}" presName="parSpace" presStyleCnt="0"/>
      <dgm:spPr/>
    </dgm:pt>
    <dgm:pt modelId="{095CD3A7-D933-4A1A-976B-B4C0E08F7FB5}" type="pres">
      <dgm:prSet presAssocID="{D4D141A5-F8CD-44DF-B381-37AFD657F91D}" presName="parTxOnly" presStyleLbl="node1" presStyleIdx="2" presStyleCnt="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D048F005-D6FC-4144-86F2-CB0B7FE35105}" type="pres">
      <dgm:prSet presAssocID="{66884F31-0194-41E2-B214-5DF7EAB13744}" presName="parSpace" presStyleCnt="0"/>
      <dgm:spPr/>
    </dgm:pt>
    <dgm:pt modelId="{03119A5F-A3A0-4A09-837F-6B1BF5B52867}" type="pres">
      <dgm:prSet presAssocID="{04B8BB93-D0B6-4165-BE93-D383FFFA91DD}" presName="parTxOnly" presStyleLbl="node1" presStyleIdx="3" presStyleCnt="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85B70D6C-9D59-48A4-820B-285F1A67F4BC}" type="pres">
      <dgm:prSet presAssocID="{E3354D68-789A-456F-B052-7EAEDF21DAFD}" presName="parSpace" presStyleCnt="0"/>
      <dgm:spPr/>
    </dgm:pt>
    <dgm:pt modelId="{CB295E5A-3171-4DFF-86C7-96394055997A}" type="pres">
      <dgm:prSet presAssocID="{9BE3DDD2-63DE-4B65-BFA3-97EF3E5CE2F4}" presName="parTxOnly" presStyleLbl="node1" presStyleIdx="4" presStyleCnt="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2923CBA9-4AE8-4717-A1E1-5D1467061A54}" srcId="{9874AFE9-CF37-4806-8F4B-57466B5A0EC7}" destId="{9BE3DDD2-63DE-4B65-BFA3-97EF3E5CE2F4}" srcOrd="4" destOrd="0" parTransId="{D80721B6-C220-4B8F-AD8E-A4F30E3C8CEE}" sibTransId="{56611181-5D74-4872-96E7-86280A6A99EB}"/>
    <dgm:cxn modelId="{19FFDE13-5CD6-4C47-B4ED-EF7CEC394959}" type="presOf" srcId="{A67B6589-B031-4B18-AA27-4C475BEEB1E3}" destId="{9E04DA8C-71E6-460C-BEC7-DAFECC38B68D}" srcOrd="0" destOrd="0" presId="urn:microsoft.com/office/officeart/2005/8/layout/hChevron3"/>
    <dgm:cxn modelId="{ED897C65-51EC-442A-88C7-84CBEAB889FA}" srcId="{9874AFE9-CF37-4806-8F4B-57466B5A0EC7}" destId="{A67B6589-B031-4B18-AA27-4C475BEEB1E3}" srcOrd="0" destOrd="0" parTransId="{17120F84-0F85-4DB9-B2A0-D0EE5EC7A925}" sibTransId="{4F74665C-943D-45E9-95A8-A478B1F10283}"/>
    <dgm:cxn modelId="{AA7361F7-C9AD-4C72-9141-EFF3DEF14D8F}" type="presOf" srcId="{D4D141A5-F8CD-44DF-B381-37AFD657F91D}" destId="{095CD3A7-D933-4A1A-976B-B4C0E08F7FB5}" srcOrd="0" destOrd="0" presId="urn:microsoft.com/office/officeart/2005/8/layout/hChevron3"/>
    <dgm:cxn modelId="{E7B15D8B-932F-445F-8FB0-23F283DD68BE}" srcId="{9874AFE9-CF37-4806-8F4B-57466B5A0EC7}" destId="{85BD7C13-BEA0-4B39-A36D-5C088114C034}" srcOrd="1" destOrd="0" parTransId="{2B09CBE2-AD60-4309-A84F-F0CCB6510182}" sibTransId="{D3F3B9A4-F30B-4B18-8B26-6D9559FF3F51}"/>
    <dgm:cxn modelId="{E68B7B0A-1B31-47B2-AEFA-82AFF4B7154F}" type="presOf" srcId="{04B8BB93-D0B6-4165-BE93-D383FFFA91DD}" destId="{03119A5F-A3A0-4A09-837F-6B1BF5B52867}" srcOrd="0" destOrd="0" presId="urn:microsoft.com/office/officeart/2005/8/layout/hChevron3"/>
    <dgm:cxn modelId="{4AB522DE-7A74-4B81-8E61-842F1EA91986}" srcId="{9874AFE9-CF37-4806-8F4B-57466B5A0EC7}" destId="{D4D141A5-F8CD-44DF-B381-37AFD657F91D}" srcOrd="2" destOrd="0" parTransId="{355815AC-043A-411F-BDE4-EE0BE2037680}" sibTransId="{66884F31-0194-41E2-B214-5DF7EAB13744}"/>
    <dgm:cxn modelId="{DABDDDD7-2BC0-4324-A0CF-56FB3A9C97A9}" srcId="{9874AFE9-CF37-4806-8F4B-57466B5A0EC7}" destId="{04B8BB93-D0B6-4165-BE93-D383FFFA91DD}" srcOrd="3" destOrd="0" parTransId="{3B14DAC7-5508-45CE-BCB1-DAD05B2A133F}" sibTransId="{E3354D68-789A-456F-B052-7EAEDF21DAFD}"/>
    <dgm:cxn modelId="{190F0EA1-DFFA-4A4A-A35B-C41AF93563DD}" type="presOf" srcId="{9BE3DDD2-63DE-4B65-BFA3-97EF3E5CE2F4}" destId="{CB295E5A-3171-4DFF-86C7-96394055997A}" srcOrd="0" destOrd="0" presId="urn:microsoft.com/office/officeart/2005/8/layout/hChevron3"/>
    <dgm:cxn modelId="{FC6F8D7F-7E30-48C1-BEC5-EB1239648828}" type="presOf" srcId="{85BD7C13-BEA0-4B39-A36D-5C088114C034}" destId="{A1F5918A-408D-4FC4-938F-BA8A37A1523D}" srcOrd="0" destOrd="0" presId="urn:microsoft.com/office/officeart/2005/8/layout/hChevron3"/>
    <dgm:cxn modelId="{1D41FE05-46E3-435A-8696-F8DBEA183811}" type="presOf" srcId="{9874AFE9-CF37-4806-8F4B-57466B5A0EC7}" destId="{0FD21F7E-2270-42C4-85B3-3234E5459745}" srcOrd="0" destOrd="0" presId="urn:microsoft.com/office/officeart/2005/8/layout/hChevron3"/>
    <dgm:cxn modelId="{AF0FB677-6913-46FF-9D4D-B6FE12FD6DB9}" type="presParOf" srcId="{0FD21F7E-2270-42C4-85B3-3234E5459745}" destId="{9E04DA8C-71E6-460C-BEC7-DAFECC38B68D}" srcOrd="0" destOrd="0" presId="urn:microsoft.com/office/officeart/2005/8/layout/hChevron3"/>
    <dgm:cxn modelId="{7BE99195-4B14-43C9-ABBA-A9E32F01DD8F}" type="presParOf" srcId="{0FD21F7E-2270-42C4-85B3-3234E5459745}" destId="{BB23E798-8BF3-402B-A8F5-6E75D205A94D}" srcOrd="1" destOrd="0" presId="urn:microsoft.com/office/officeart/2005/8/layout/hChevron3"/>
    <dgm:cxn modelId="{F2E61367-054D-46FA-92CC-87F6BF36E6E2}" type="presParOf" srcId="{0FD21F7E-2270-42C4-85B3-3234E5459745}" destId="{A1F5918A-408D-4FC4-938F-BA8A37A1523D}" srcOrd="2" destOrd="0" presId="urn:microsoft.com/office/officeart/2005/8/layout/hChevron3"/>
    <dgm:cxn modelId="{8FD6261A-D6CB-4058-A528-7A4B081F94FC}" type="presParOf" srcId="{0FD21F7E-2270-42C4-85B3-3234E5459745}" destId="{68EEAF93-3469-4EFA-80CD-56831234297D}" srcOrd="3" destOrd="0" presId="urn:microsoft.com/office/officeart/2005/8/layout/hChevron3"/>
    <dgm:cxn modelId="{789CC8EF-BE5B-4450-9176-420D4225B652}" type="presParOf" srcId="{0FD21F7E-2270-42C4-85B3-3234E5459745}" destId="{095CD3A7-D933-4A1A-976B-B4C0E08F7FB5}" srcOrd="4" destOrd="0" presId="urn:microsoft.com/office/officeart/2005/8/layout/hChevron3"/>
    <dgm:cxn modelId="{5339C4F5-CBF0-419D-8465-FE8225D501B3}" type="presParOf" srcId="{0FD21F7E-2270-42C4-85B3-3234E5459745}" destId="{D048F005-D6FC-4144-86F2-CB0B7FE35105}" srcOrd="5" destOrd="0" presId="urn:microsoft.com/office/officeart/2005/8/layout/hChevron3"/>
    <dgm:cxn modelId="{E787CA34-B684-459B-8B54-35AD051F39F0}" type="presParOf" srcId="{0FD21F7E-2270-42C4-85B3-3234E5459745}" destId="{03119A5F-A3A0-4A09-837F-6B1BF5B52867}" srcOrd="6" destOrd="0" presId="urn:microsoft.com/office/officeart/2005/8/layout/hChevron3"/>
    <dgm:cxn modelId="{B39811DA-3C37-4F0F-9E77-875B0084C634}" type="presParOf" srcId="{0FD21F7E-2270-42C4-85B3-3234E5459745}" destId="{85B70D6C-9D59-48A4-820B-285F1A67F4BC}" srcOrd="7" destOrd="0" presId="urn:microsoft.com/office/officeart/2005/8/layout/hChevron3"/>
    <dgm:cxn modelId="{11D7C217-BB76-44E3-85DE-6DFE8A0B044C}" type="presParOf" srcId="{0FD21F7E-2270-42C4-85B3-3234E5459745}" destId="{CB295E5A-3171-4DFF-86C7-96394055997A}" srcOrd="8" destOrd="0" presId="urn:microsoft.com/office/officeart/2005/8/layout/hChevron3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4FFE128-7E96-4B07-869D-EBD5B198AB64}">
      <dsp:nvSpPr>
        <dsp:cNvPr id="0" name=""/>
        <dsp:cNvSpPr/>
      </dsp:nvSpPr>
      <dsp:spPr>
        <a:xfrm>
          <a:off x="3864" y="371342"/>
          <a:ext cx="678083" cy="271233"/>
        </a:xfrm>
        <a:prstGeom prst="homePlat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9342" tIns="34671" rIns="17336" bIns="34671" numCol="1" spcCol="1270" anchor="ctr" anchorCtr="0">
          <a:noAutofit/>
        </a:bodyPr>
        <a:lstStyle/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300" kern="1200" dirty="0" smtClean="0"/>
            <a:t>Oct</a:t>
          </a:r>
          <a:endParaRPr lang="en-US" sz="1300" kern="1200" dirty="0"/>
        </a:p>
      </dsp:txBody>
      <dsp:txXfrm>
        <a:off x="3864" y="371342"/>
        <a:ext cx="610275" cy="271233"/>
      </dsp:txXfrm>
    </dsp:sp>
    <dsp:sp modelId="{56378CD0-D019-4CA3-9C2A-9AC6E60CE3DE}">
      <dsp:nvSpPr>
        <dsp:cNvPr id="0" name=""/>
        <dsp:cNvSpPr/>
      </dsp:nvSpPr>
      <dsp:spPr>
        <a:xfrm>
          <a:off x="546331" y="371342"/>
          <a:ext cx="678083" cy="271233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2007" tIns="34671" rIns="17336" bIns="34671" numCol="1" spcCol="1270" anchor="ctr" anchorCtr="0">
          <a:noAutofit/>
        </a:bodyPr>
        <a:lstStyle/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300" kern="1200" dirty="0" smtClean="0"/>
            <a:t>Nov</a:t>
          </a:r>
          <a:endParaRPr lang="en-US" sz="1300" kern="1200" dirty="0"/>
        </a:p>
      </dsp:txBody>
      <dsp:txXfrm>
        <a:off x="681948" y="371342"/>
        <a:ext cx="406850" cy="271233"/>
      </dsp:txXfrm>
    </dsp:sp>
    <dsp:sp modelId="{7477813B-7740-4960-94AA-95486829F972}">
      <dsp:nvSpPr>
        <dsp:cNvPr id="0" name=""/>
        <dsp:cNvSpPr/>
      </dsp:nvSpPr>
      <dsp:spPr>
        <a:xfrm>
          <a:off x="1088798" y="371342"/>
          <a:ext cx="678083" cy="271233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2007" tIns="34671" rIns="17336" bIns="34671" numCol="1" spcCol="1270" anchor="ctr" anchorCtr="0">
          <a:noAutofit/>
        </a:bodyPr>
        <a:lstStyle/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300" kern="1200" dirty="0" smtClean="0"/>
            <a:t>Dec</a:t>
          </a:r>
          <a:endParaRPr lang="en-US" sz="1300" kern="1200" dirty="0"/>
        </a:p>
      </dsp:txBody>
      <dsp:txXfrm>
        <a:off x="1224415" y="371342"/>
        <a:ext cx="406850" cy="271233"/>
      </dsp:txXfrm>
    </dsp:sp>
    <dsp:sp modelId="{9E04DA8C-71E6-460C-BEC7-DAFECC38B68D}">
      <dsp:nvSpPr>
        <dsp:cNvPr id="0" name=""/>
        <dsp:cNvSpPr/>
      </dsp:nvSpPr>
      <dsp:spPr>
        <a:xfrm>
          <a:off x="1631265" y="371342"/>
          <a:ext cx="678083" cy="271233"/>
        </a:xfrm>
        <a:prstGeom prst="chevron">
          <a:avLst/>
        </a:prstGeom>
        <a:solidFill>
          <a:schemeClr val="tx2">
            <a:lumMod val="60000"/>
            <a:lumOff val="4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2007" tIns="34671" rIns="17336" bIns="34671" numCol="1" spcCol="1270" anchor="ctr" anchorCtr="0">
          <a:noAutofit/>
        </a:bodyPr>
        <a:lstStyle/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300" kern="1200" dirty="0" smtClean="0"/>
            <a:t>Jan</a:t>
          </a:r>
          <a:endParaRPr lang="en-US" sz="1300" kern="1200" dirty="0"/>
        </a:p>
      </dsp:txBody>
      <dsp:txXfrm>
        <a:off x="1766882" y="371342"/>
        <a:ext cx="406850" cy="271233"/>
      </dsp:txXfrm>
    </dsp:sp>
    <dsp:sp modelId="{A1F5918A-408D-4FC4-938F-BA8A37A1523D}">
      <dsp:nvSpPr>
        <dsp:cNvPr id="0" name=""/>
        <dsp:cNvSpPr/>
      </dsp:nvSpPr>
      <dsp:spPr>
        <a:xfrm>
          <a:off x="2173732" y="371342"/>
          <a:ext cx="678083" cy="271233"/>
        </a:xfrm>
        <a:prstGeom prst="chevron">
          <a:avLst/>
        </a:prstGeom>
        <a:solidFill>
          <a:schemeClr val="tx2">
            <a:lumMod val="60000"/>
            <a:lumOff val="4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2007" tIns="34671" rIns="17336" bIns="34671" numCol="1" spcCol="1270" anchor="ctr" anchorCtr="0">
          <a:noAutofit/>
        </a:bodyPr>
        <a:lstStyle/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300" kern="1200" dirty="0" smtClean="0"/>
            <a:t>Feb</a:t>
          </a:r>
          <a:endParaRPr lang="en-US" sz="1300" kern="1200" dirty="0"/>
        </a:p>
      </dsp:txBody>
      <dsp:txXfrm>
        <a:off x="2309349" y="371342"/>
        <a:ext cx="406850" cy="271233"/>
      </dsp:txXfrm>
    </dsp:sp>
    <dsp:sp modelId="{095CD3A7-D933-4A1A-976B-B4C0E08F7FB5}">
      <dsp:nvSpPr>
        <dsp:cNvPr id="0" name=""/>
        <dsp:cNvSpPr/>
      </dsp:nvSpPr>
      <dsp:spPr>
        <a:xfrm>
          <a:off x="2716198" y="371342"/>
          <a:ext cx="678083" cy="271233"/>
        </a:xfrm>
        <a:prstGeom prst="chevron">
          <a:avLst/>
        </a:prstGeom>
        <a:solidFill>
          <a:schemeClr val="tx2">
            <a:lumMod val="60000"/>
            <a:lumOff val="4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2007" tIns="34671" rIns="17336" bIns="34671" numCol="1" spcCol="1270" anchor="ctr" anchorCtr="0">
          <a:noAutofit/>
        </a:bodyPr>
        <a:lstStyle/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300" kern="1200" dirty="0" smtClean="0"/>
            <a:t>Mar</a:t>
          </a:r>
          <a:endParaRPr lang="en-US" sz="1300" kern="1200" dirty="0"/>
        </a:p>
      </dsp:txBody>
      <dsp:txXfrm>
        <a:off x="2851815" y="371342"/>
        <a:ext cx="406850" cy="271233"/>
      </dsp:txXfrm>
    </dsp:sp>
    <dsp:sp modelId="{03119A5F-A3A0-4A09-837F-6B1BF5B52867}">
      <dsp:nvSpPr>
        <dsp:cNvPr id="0" name=""/>
        <dsp:cNvSpPr/>
      </dsp:nvSpPr>
      <dsp:spPr>
        <a:xfrm>
          <a:off x="3258665" y="371342"/>
          <a:ext cx="678083" cy="271233"/>
        </a:xfrm>
        <a:prstGeom prst="chevron">
          <a:avLst/>
        </a:prstGeom>
        <a:solidFill>
          <a:schemeClr val="tx2">
            <a:lumMod val="60000"/>
            <a:lumOff val="4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2007" tIns="34671" rIns="17336" bIns="34671" numCol="1" spcCol="1270" anchor="ctr" anchorCtr="0">
          <a:noAutofit/>
        </a:bodyPr>
        <a:lstStyle/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300" kern="1200" dirty="0" smtClean="0"/>
            <a:t>Apr</a:t>
          </a:r>
          <a:endParaRPr lang="en-US" sz="1300" kern="1200" dirty="0"/>
        </a:p>
      </dsp:txBody>
      <dsp:txXfrm>
        <a:off x="3394282" y="371342"/>
        <a:ext cx="406850" cy="271233"/>
      </dsp:txXfrm>
    </dsp:sp>
    <dsp:sp modelId="{CB295E5A-3171-4DFF-86C7-96394055997A}">
      <dsp:nvSpPr>
        <dsp:cNvPr id="0" name=""/>
        <dsp:cNvSpPr/>
      </dsp:nvSpPr>
      <dsp:spPr>
        <a:xfrm>
          <a:off x="3801132" y="371342"/>
          <a:ext cx="678083" cy="271233"/>
        </a:xfrm>
        <a:prstGeom prst="chevron">
          <a:avLst/>
        </a:prstGeom>
        <a:solidFill>
          <a:schemeClr val="tx2">
            <a:lumMod val="60000"/>
            <a:lumOff val="4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2007" tIns="34671" rIns="17336" bIns="34671" numCol="1" spcCol="1270" anchor="ctr" anchorCtr="0">
          <a:noAutofit/>
        </a:bodyPr>
        <a:lstStyle/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300" kern="1200" dirty="0" smtClean="0"/>
            <a:t>May</a:t>
          </a:r>
          <a:endParaRPr lang="en-US" sz="1300" kern="1200" dirty="0"/>
        </a:p>
      </dsp:txBody>
      <dsp:txXfrm>
        <a:off x="3936749" y="371342"/>
        <a:ext cx="406850" cy="271233"/>
      </dsp:txXfrm>
    </dsp:sp>
    <dsp:sp modelId="{470FFEE6-087B-437E-A22D-51D85A4A8A75}">
      <dsp:nvSpPr>
        <dsp:cNvPr id="0" name=""/>
        <dsp:cNvSpPr/>
      </dsp:nvSpPr>
      <dsp:spPr>
        <a:xfrm>
          <a:off x="4343599" y="371342"/>
          <a:ext cx="678083" cy="271233"/>
        </a:xfrm>
        <a:prstGeom prst="chevron">
          <a:avLst/>
        </a:prstGeom>
        <a:solidFill>
          <a:schemeClr val="tx2">
            <a:lumMod val="60000"/>
            <a:lumOff val="4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2007" tIns="34671" rIns="17336" bIns="34671" numCol="1" spcCol="1270" anchor="ctr" anchorCtr="0">
          <a:noAutofit/>
        </a:bodyPr>
        <a:lstStyle/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300" kern="1200" dirty="0" smtClean="0"/>
            <a:t>Jun</a:t>
          </a:r>
          <a:endParaRPr lang="en-US" sz="1300" kern="1200" dirty="0"/>
        </a:p>
      </dsp:txBody>
      <dsp:txXfrm>
        <a:off x="4479216" y="371342"/>
        <a:ext cx="406850" cy="271233"/>
      </dsp:txXfrm>
    </dsp:sp>
    <dsp:sp modelId="{046A912A-5272-475E-9AD1-DE3658B2D75F}">
      <dsp:nvSpPr>
        <dsp:cNvPr id="0" name=""/>
        <dsp:cNvSpPr/>
      </dsp:nvSpPr>
      <dsp:spPr>
        <a:xfrm>
          <a:off x="4886066" y="371342"/>
          <a:ext cx="678083" cy="271233"/>
        </a:xfrm>
        <a:prstGeom prst="chevron">
          <a:avLst/>
        </a:prstGeom>
        <a:solidFill>
          <a:schemeClr val="tx2">
            <a:lumMod val="60000"/>
            <a:lumOff val="4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2007" tIns="34671" rIns="17336" bIns="34671" numCol="1" spcCol="1270" anchor="ctr" anchorCtr="0">
          <a:noAutofit/>
        </a:bodyPr>
        <a:lstStyle/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300" kern="1200" dirty="0" smtClean="0"/>
            <a:t>Jul</a:t>
          </a:r>
          <a:endParaRPr lang="en-US" sz="1300" kern="1200" dirty="0"/>
        </a:p>
      </dsp:txBody>
      <dsp:txXfrm>
        <a:off x="5021683" y="371342"/>
        <a:ext cx="406850" cy="271233"/>
      </dsp:txXfrm>
    </dsp:sp>
    <dsp:sp modelId="{6F7658C2-AB0B-417C-AAB9-C7AAA24EEFAB}">
      <dsp:nvSpPr>
        <dsp:cNvPr id="0" name=""/>
        <dsp:cNvSpPr/>
      </dsp:nvSpPr>
      <dsp:spPr>
        <a:xfrm>
          <a:off x="5428533" y="371342"/>
          <a:ext cx="678083" cy="271233"/>
        </a:xfrm>
        <a:prstGeom prst="chevron">
          <a:avLst/>
        </a:prstGeom>
        <a:solidFill>
          <a:schemeClr val="tx2">
            <a:lumMod val="60000"/>
            <a:lumOff val="4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2007" tIns="34671" rIns="17336" bIns="34671" numCol="1" spcCol="1270" anchor="ctr" anchorCtr="0">
          <a:noAutofit/>
        </a:bodyPr>
        <a:lstStyle/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300" kern="1200" dirty="0" smtClean="0"/>
            <a:t>Aug</a:t>
          </a:r>
          <a:endParaRPr lang="en-US" sz="1300" kern="1200" dirty="0"/>
        </a:p>
      </dsp:txBody>
      <dsp:txXfrm>
        <a:off x="5564150" y="371342"/>
        <a:ext cx="406850" cy="271233"/>
      </dsp:txXfrm>
    </dsp:sp>
    <dsp:sp modelId="{5198E00D-FBC2-4746-95C7-EC6AFE309BB9}">
      <dsp:nvSpPr>
        <dsp:cNvPr id="0" name=""/>
        <dsp:cNvSpPr/>
      </dsp:nvSpPr>
      <dsp:spPr>
        <a:xfrm>
          <a:off x="5970999" y="371342"/>
          <a:ext cx="678083" cy="271233"/>
        </a:xfrm>
        <a:prstGeom prst="chevron">
          <a:avLst/>
        </a:prstGeom>
        <a:solidFill>
          <a:schemeClr val="tx2">
            <a:lumMod val="60000"/>
            <a:lumOff val="4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2007" tIns="34671" rIns="17336" bIns="34671" numCol="1" spcCol="1270" anchor="ctr" anchorCtr="0">
          <a:noAutofit/>
        </a:bodyPr>
        <a:lstStyle/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300" kern="1200" dirty="0" smtClean="0"/>
            <a:t>Sep</a:t>
          </a:r>
          <a:endParaRPr lang="en-US" sz="1300" kern="1200" dirty="0"/>
        </a:p>
      </dsp:txBody>
      <dsp:txXfrm>
        <a:off x="6106616" y="371342"/>
        <a:ext cx="406850" cy="271233"/>
      </dsp:txXfrm>
    </dsp:sp>
    <dsp:sp modelId="{3AC1FCC6-239D-48F1-B804-05781A59E4BB}">
      <dsp:nvSpPr>
        <dsp:cNvPr id="0" name=""/>
        <dsp:cNvSpPr/>
      </dsp:nvSpPr>
      <dsp:spPr>
        <a:xfrm>
          <a:off x="6513466" y="371342"/>
          <a:ext cx="678083" cy="271233"/>
        </a:xfrm>
        <a:prstGeom prst="chevron">
          <a:avLst/>
        </a:prstGeom>
        <a:solidFill>
          <a:schemeClr val="tx2">
            <a:lumMod val="60000"/>
            <a:lumOff val="4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2007" tIns="34671" rIns="17336" bIns="34671" numCol="1" spcCol="1270" anchor="ctr" anchorCtr="0">
          <a:noAutofit/>
        </a:bodyPr>
        <a:lstStyle/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300" kern="1200" dirty="0" smtClean="0"/>
            <a:t>Oct</a:t>
          </a:r>
          <a:endParaRPr lang="en-US" sz="1300" kern="1200" dirty="0"/>
        </a:p>
      </dsp:txBody>
      <dsp:txXfrm>
        <a:off x="6649083" y="371342"/>
        <a:ext cx="406850" cy="271233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E04DA8C-71E6-460C-BEC7-DAFECC38B68D}">
      <dsp:nvSpPr>
        <dsp:cNvPr id="0" name=""/>
        <dsp:cNvSpPr/>
      </dsp:nvSpPr>
      <dsp:spPr>
        <a:xfrm>
          <a:off x="939" y="0"/>
          <a:ext cx="1831795" cy="708527"/>
        </a:xfrm>
        <a:prstGeom prst="homePlate">
          <a:avLst/>
        </a:prstGeom>
        <a:solidFill>
          <a:schemeClr val="tx2">
            <a:lumMod val="60000"/>
            <a:lumOff val="4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92024" tIns="96012" rIns="48006" bIns="96012" numCol="1" spcCol="1270" anchor="ctr" anchorCtr="0">
          <a:noAutofit/>
        </a:bodyPr>
        <a:lstStyle/>
        <a:p>
          <a:pPr lvl="0" algn="ctr" defTabSz="1600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3600" kern="1200" dirty="0" smtClean="0"/>
            <a:t>Jun</a:t>
          </a:r>
          <a:endParaRPr lang="en-US" sz="3600" kern="1200" dirty="0"/>
        </a:p>
      </dsp:txBody>
      <dsp:txXfrm>
        <a:off x="939" y="0"/>
        <a:ext cx="1654663" cy="708527"/>
      </dsp:txXfrm>
    </dsp:sp>
    <dsp:sp modelId="{A1F5918A-408D-4FC4-938F-BA8A37A1523D}">
      <dsp:nvSpPr>
        <dsp:cNvPr id="0" name=""/>
        <dsp:cNvSpPr/>
      </dsp:nvSpPr>
      <dsp:spPr>
        <a:xfrm>
          <a:off x="1466375" y="0"/>
          <a:ext cx="1831795" cy="708527"/>
        </a:xfrm>
        <a:prstGeom prst="chevron">
          <a:avLst/>
        </a:prstGeom>
        <a:solidFill>
          <a:schemeClr val="tx2">
            <a:lumMod val="60000"/>
            <a:lumOff val="4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4018" tIns="96012" rIns="48006" bIns="96012" numCol="1" spcCol="1270" anchor="ctr" anchorCtr="0">
          <a:noAutofit/>
        </a:bodyPr>
        <a:lstStyle/>
        <a:p>
          <a:pPr lvl="0" algn="ctr" defTabSz="1600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3600" kern="1200" dirty="0" smtClean="0"/>
            <a:t>Jul</a:t>
          </a:r>
          <a:endParaRPr lang="en-US" sz="3600" kern="1200" dirty="0"/>
        </a:p>
      </dsp:txBody>
      <dsp:txXfrm>
        <a:off x="1820639" y="0"/>
        <a:ext cx="1123268" cy="708527"/>
      </dsp:txXfrm>
    </dsp:sp>
    <dsp:sp modelId="{095CD3A7-D933-4A1A-976B-B4C0E08F7FB5}">
      <dsp:nvSpPr>
        <dsp:cNvPr id="0" name=""/>
        <dsp:cNvSpPr/>
      </dsp:nvSpPr>
      <dsp:spPr>
        <a:xfrm>
          <a:off x="2931812" y="0"/>
          <a:ext cx="1831795" cy="708527"/>
        </a:xfrm>
        <a:prstGeom prst="chevron">
          <a:avLst/>
        </a:prstGeom>
        <a:solidFill>
          <a:schemeClr val="tx2">
            <a:lumMod val="60000"/>
            <a:lumOff val="4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4018" tIns="96012" rIns="48006" bIns="96012" numCol="1" spcCol="1270" anchor="ctr" anchorCtr="0">
          <a:noAutofit/>
        </a:bodyPr>
        <a:lstStyle/>
        <a:p>
          <a:pPr lvl="0" algn="ctr" defTabSz="1600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3600" kern="1200" dirty="0" smtClean="0"/>
            <a:t>Aug</a:t>
          </a:r>
          <a:endParaRPr lang="en-US" sz="3600" kern="1200" dirty="0"/>
        </a:p>
      </dsp:txBody>
      <dsp:txXfrm>
        <a:off x="3286076" y="0"/>
        <a:ext cx="1123268" cy="708527"/>
      </dsp:txXfrm>
    </dsp:sp>
    <dsp:sp modelId="{03119A5F-A3A0-4A09-837F-6B1BF5B52867}">
      <dsp:nvSpPr>
        <dsp:cNvPr id="0" name=""/>
        <dsp:cNvSpPr/>
      </dsp:nvSpPr>
      <dsp:spPr>
        <a:xfrm>
          <a:off x="4397248" y="0"/>
          <a:ext cx="1831795" cy="708527"/>
        </a:xfrm>
        <a:prstGeom prst="chevron">
          <a:avLst/>
        </a:prstGeom>
        <a:solidFill>
          <a:schemeClr val="tx2">
            <a:lumMod val="60000"/>
            <a:lumOff val="4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4018" tIns="96012" rIns="48006" bIns="96012" numCol="1" spcCol="1270" anchor="ctr" anchorCtr="0">
          <a:noAutofit/>
        </a:bodyPr>
        <a:lstStyle/>
        <a:p>
          <a:pPr lvl="0" algn="ctr" defTabSz="1600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3600" kern="1200" dirty="0" smtClean="0"/>
            <a:t>Sep</a:t>
          </a:r>
          <a:endParaRPr lang="en-US" sz="3600" kern="1200" dirty="0"/>
        </a:p>
      </dsp:txBody>
      <dsp:txXfrm>
        <a:off x="4751512" y="0"/>
        <a:ext cx="1123268" cy="708527"/>
      </dsp:txXfrm>
    </dsp:sp>
    <dsp:sp modelId="{CB295E5A-3171-4DFF-86C7-96394055997A}">
      <dsp:nvSpPr>
        <dsp:cNvPr id="0" name=""/>
        <dsp:cNvSpPr/>
      </dsp:nvSpPr>
      <dsp:spPr>
        <a:xfrm>
          <a:off x="5862685" y="0"/>
          <a:ext cx="1831795" cy="708527"/>
        </a:xfrm>
        <a:prstGeom prst="chevron">
          <a:avLst/>
        </a:prstGeom>
        <a:solidFill>
          <a:schemeClr val="tx2">
            <a:lumMod val="60000"/>
            <a:lumOff val="4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4018" tIns="96012" rIns="48006" bIns="96012" numCol="1" spcCol="1270" anchor="ctr" anchorCtr="0">
          <a:noAutofit/>
        </a:bodyPr>
        <a:lstStyle/>
        <a:p>
          <a:pPr lvl="0" algn="ctr" defTabSz="1600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3600" kern="1200" dirty="0" smtClean="0"/>
            <a:t>Oct</a:t>
          </a:r>
          <a:endParaRPr lang="en-US" sz="3600" kern="1200" dirty="0"/>
        </a:p>
      </dsp:txBody>
      <dsp:txXfrm>
        <a:off x="6216949" y="0"/>
        <a:ext cx="1123268" cy="708527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Chevron3">
  <dgm:title val=""/>
  <dgm:desc val=""/>
  <dgm:catLst>
    <dgm:cat type="process" pri="10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func="maxDepth" op="gte" val="2">
        <dgm:constrLst>
          <dgm:constr type="w" for="ch" forName="parAndChTx" refType="w"/>
          <dgm:constr type="primFontSz" for="ch" ptType="node" op="equ"/>
          <dgm:constr type="w" for="ch" forName="parAndChSpace" refType="w" refFor="ch" refForName="parAndChTx" fact="-0.2"/>
          <dgm:constr type="w" for="ch" ptType="sibTrans" op="equ"/>
        </dgm:constrLst>
        <dgm:ruleLst/>
        <dgm:forEach name="Name6" axis="ch" ptType="node">
          <dgm:layoutNode name="parAndChTx">
            <dgm:varLst>
              <dgm:bulletEnabled val="1"/>
            </dgm:varLst>
            <dgm:alg type="tx"/>
            <dgm:choose name="Name7">
              <dgm:if name="Name8" func="var" arg="dir" op="equ" val="norm">
                <dgm:choose name="Name9">
                  <dgm:if name="Name10" axis="self" ptType="node" func="pos" op="equ" val="1">
                    <dgm:shape xmlns:r="http://schemas.openxmlformats.org/officeDocument/2006/relationships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4"/>
                    </dgm:constrLst>
                  </dgm:if>
                  <dgm:else name="Name11">
                    <dgm:shape xmlns:r="http://schemas.openxmlformats.org/officeDocument/2006/relationships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if>
              <dgm:else name="Name12">
                <dgm:choose name="Name13">
                  <dgm:if name="Name14" axis="self" ptType="node" func="pos" op="equ" val="1">
                    <dgm:shape xmlns:r="http://schemas.openxmlformats.org/officeDocument/2006/relationships" rot="180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4"/>
                      <dgm:constr type="rMarg" refType="w" fact="0.1"/>
                    </dgm:constrLst>
                  </dgm:if>
                  <dgm:else name="Name15">
                    <dgm:shape xmlns:r="http://schemas.openxmlformats.org/officeDocument/2006/relationships" rot="180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16" axis="followSib" ptType="sibTrans" cnt="1">
            <dgm:layoutNode name="parAndCh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17">
        <dgm:constrLst>
          <dgm:constr type="w" for="ch" forName="parTxOnly" refType="w"/>
          <dgm:constr type="primFontSz" for="ch" ptType="node" op="equ"/>
          <dgm:constr type="w" for="ch" forName="parSpace" refType="w" refFor="ch" refForName="parTxOnly" fact="-0.2"/>
          <dgm:constr type="w" for="ch" ptType="sibTrans" op="equ"/>
        </dgm:constrLst>
        <dgm:ruleLst/>
        <dgm:forEach name="Name18" axis="ch" ptType="node">
          <dgm:layoutNode name="parTxOnly">
            <dgm:varLst>
              <dgm:bulletEnabled val="1"/>
            </dgm:varLst>
            <dgm:alg type="tx"/>
            <dgm:presOf axis="desOrSelf" ptType="node"/>
            <dgm:choose name="Name19">
              <dgm:if name="Name20" func="var" arg="dir" op="equ" val="norm">
                <dgm:choose name="Name21">
                  <dgm:if name="Name22" axis="self" ptType="node" func="pos" op="equ" val="1">
                    <dgm:shape xmlns:r="http://schemas.openxmlformats.org/officeDocument/2006/relationships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42"/>
                      <dgm:constr type="rMarg" refType="primFontSz" fact="0.105"/>
                    </dgm:constrLst>
                  </dgm:if>
                  <dgm:else name="Name23">
                    <dgm:shape xmlns:r="http://schemas.openxmlformats.org/officeDocument/2006/relationships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315"/>
                      <dgm:constr type="rMarg" refType="primFontSz" fact="0.105"/>
                    </dgm:constrLst>
                  </dgm:else>
                </dgm:choose>
              </dgm:if>
              <dgm:else name="Name24">
                <dgm:choose name="Name25">
                  <dgm:if name="Name26" axis="self" ptType="node" func="pos" op="equ" val="1">
                    <dgm:shape xmlns:r="http://schemas.openxmlformats.org/officeDocument/2006/relationships" rot="180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42"/>
                    </dgm:constrLst>
                  </dgm:if>
                  <dgm:else name="Name27">
                    <dgm:shape xmlns:r="http://schemas.openxmlformats.org/officeDocument/2006/relationships" rot="180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315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hChevron3">
  <dgm:title val=""/>
  <dgm:desc val=""/>
  <dgm:catLst>
    <dgm:cat type="process" pri="10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func="maxDepth" op="gte" val="2">
        <dgm:constrLst>
          <dgm:constr type="w" for="ch" forName="parAndChTx" refType="w"/>
          <dgm:constr type="primFontSz" for="ch" ptType="node" op="equ"/>
          <dgm:constr type="w" for="ch" forName="parAndChSpace" refType="w" refFor="ch" refForName="parAndChTx" fact="-0.2"/>
          <dgm:constr type="w" for="ch" ptType="sibTrans" op="equ"/>
        </dgm:constrLst>
        <dgm:ruleLst/>
        <dgm:forEach name="Name6" axis="ch" ptType="node">
          <dgm:layoutNode name="parAndChTx">
            <dgm:varLst>
              <dgm:bulletEnabled val="1"/>
            </dgm:varLst>
            <dgm:alg type="tx"/>
            <dgm:choose name="Name7">
              <dgm:if name="Name8" func="var" arg="dir" op="equ" val="norm">
                <dgm:choose name="Name9">
                  <dgm:if name="Name10" axis="self" ptType="node" func="pos" op="equ" val="1">
                    <dgm:shape xmlns:r="http://schemas.openxmlformats.org/officeDocument/2006/relationships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4"/>
                    </dgm:constrLst>
                  </dgm:if>
                  <dgm:else name="Name11">
                    <dgm:shape xmlns:r="http://schemas.openxmlformats.org/officeDocument/2006/relationships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if>
              <dgm:else name="Name12">
                <dgm:choose name="Name13">
                  <dgm:if name="Name14" axis="self" ptType="node" func="pos" op="equ" val="1">
                    <dgm:shape xmlns:r="http://schemas.openxmlformats.org/officeDocument/2006/relationships" rot="180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4"/>
                      <dgm:constr type="rMarg" refType="w" fact="0.1"/>
                    </dgm:constrLst>
                  </dgm:if>
                  <dgm:else name="Name15">
                    <dgm:shape xmlns:r="http://schemas.openxmlformats.org/officeDocument/2006/relationships" rot="180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16" axis="followSib" ptType="sibTrans" cnt="1">
            <dgm:layoutNode name="parAndCh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17">
        <dgm:constrLst>
          <dgm:constr type="w" for="ch" forName="parTxOnly" refType="w"/>
          <dgm:constr type="primFontSz" for="ch" ptType="node" op="equ"/>
          <dgm:constr type="w" for="ch" forName="parSpace" refType="w" refFor="ch" refForName="parTxOnly" fact="-0.2"/>
          <dgm:constr type="w" for="ch" ptType="sibTrans" op="equ"/>
        </dgm:constrLst>
        <dgm:ruleLst/>
        <dgm:forEach name="Name18" axis="ch" ptType="node">
          <dgm:layoutNode name="parTxOnly">
            <dgm:varLst>
              <dgm:bulletEnabled val="1"/>
            </dgm:varLst>
            <dgm:alg type="tx"/>
            <dgm:presOf axis="desOrSelf" ptType="node"/>
            <dgm:choose name="Name19">
              <dgm:if name="Name20" func="var" arg="dir" op="equ" val="norm">
                <dgm:choose name="Name21">
                  <dgm:if name="Name22" axis="self" ptType="node" func="pos" op="equ" val="1">
                    <dgm:shape xmlns:r="http://schemas.openxmlformats.org/officeDocument/2006/relationships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42"/>
                      <dgm:constr type="rMarg" refType="primFontSz" fact="0.105"/>
                    </dgm:constrLst>
                  </dgm:if>
                  <dgm:else name="Name23">
                    <dgm:shape xmlns:r="http://schemas.openxmlformats.org/officeDocument/2006/relationships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315"/>
                      <dgm:constr type="rMarg" refType="primFontSz" fact="0.105"/>
                    </dgm:constrLst>
                  </dgm:else>
                </dgm:choose>
              </dgm:if>
              <dgm:else name="Name24">
                <dgm:choose name="Name25">
                  <dgm:if name="Name26" axis="self" ptType="node" func="pos" op="equ" val="1">
                    <dgm:shape xmlns:r="http://schemas.openxmlformats.org/officeDocument/2006/relationships" rot="180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42"/>
                    </dgm:constrLst>
                  </dgm:if>
                  <dgm:else name="Name27">
                    <dgm:shape xmlns:r="http://schemas.openxmlformats.org/officeDocument/2006/relationships" rot="180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315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0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2"/>
            <a:ext cx="3043343" cy="467072"/>
          </a:xfrm>
          <a:prstGeom prst="rect">
            <a:avLst/>
          </a:prstGeom>
        </p:spPr>
        <p:txBody>
          <a:bodyPr vert="horz" lIns="92787" tIns="46393" rIns="92787" bIns="46393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78133" y="2"/>
            <a:ext cx="3043343" cy="467072"/>
          </a:xfrm>
          <a:prstGeom prst="rect">
            <a:avLst/>
          </a:prstGeom>
        </p:spPr>
        <p:txBody>
          <a:bodyPr vert="horz" lIns="92787" tIns="46393" rIns="92787" bIns="46393" rtlCol="0"/>
          <a:lstStyle>
            <a:lvl1pPr algn="r">
              <a:defRPr sz="1200"/>
            </a:lvl1pPr>
          </a:lstStyle>
          <a:p>
            <a:fld id="{76E05F73-4E6E-4F84-9DD7-6A6A55A66707}" type="datetimeFigureOut">
              <a:rPr lang="en-US" smtClean="0"/>
              <a:t>9/7/2018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842033"/>
            <a:ext cx="3043343" cy="467071"/>
          </a:xfrm>
          <a:prstGeom prst="rect">
            <a:avLst/>
          </a:prstGeom>
        </p:spPr>
        <p:txBody>
          <a:bodyPr vert="horz" lIns="92787" tIns="46393" rIns="92787" bIns="46393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8133" y="8842033"/>
            <a:ext cx="3043343" cy="467071"/>
          </a:xfrm>
          <a:prstGeom prst="rect">
            <a:avLst/>
          </a:prstGeom>
        </p:spPr>
        <p:txBody>
          <a:bodyPr vert="horz" lIns="92787" tIns="46393" rIns="92787" bIns="46393" rtlCol="0" anchor="b"/>
          <a:lstStyle>
            <a:lvl1pPr algn="r">
              <a:defRPr sz="1200"/>
            </a:lvl1pPr>
          </a:lstStyle>
          <a:p>
            <a:fld id="{C68924C9-6ACC-4ABB-9A39-CEB3B5B823A2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6049330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9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3" y="4"/>
            <a:ext cx="3043238" cy="466725"/>
          </a:xfrm>
          <a:prstGeom prst="rect">
            <a:avLst/>
          </a:prstGeom>
        </p:spPr>
        <p:txBody>
          <a:bodyPr vert="horz" lIns="90378" tIns="45190" rIns="90378" bIns="4519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8278" y="4"/>
            <a:ext cx="3043238" cy="466725"/>
          </a:xfrm>
          <a:prstGeom prst="rect">
            <a:avLst/>
          </a:prstGeom>
        </p:spPr>
        <p:txBody>
          <a:bodyPr vert="horz" lIns="90378" tIns="45190" rIns="90378" bIns="45190" rtlCol="0"/>
          <a:lstStyle>
            <a:lvl1pPr algn="r">
              <a:defRPr sz="1200"/>
            </a:lvl1pPr>
          </a:lstStyle>
          <a:p>
            <a:fld id="{72A39B4F-D8E7-4701-A6C4-5CF39AE8D229}" type="datetimeFigureOut">
              <a:rPr lang="en-US" smtClean="0"/>
              <a:t>9/7/2018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419225" y="1163638"/>
            <a:ext cx="4184650" cy="31384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0378" tIns="45190" rIns="90378" bIns="4519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675" y="4479925"/>
            <a:ext cx="5619750" cy="3665538"/>
          </a:xfrm>
          <a:prstGeom prst="rect">
            <a:avLst/>
          </a:prstGeom>
        </p:spPr>
        <p:txBody>
          <a:bodyPr vert="horz" lIns="90378" tIns="45190" rIns="90378" bIns="4519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3" y="8842376"/>
            <a:ext cx="3043238" cy="466725"/>
          </a:xfrm>
          <a:prstGeom prst="rect">
            <a:avLst/>
          </a:prstGeom>
        </p:spPr>
        <p:txBody>
          <a:bodyPr vert="horz" lIns="90378" tIns="45190" rIns="90378" bIns="4519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8278" y="8842376"/>
            <a:ext cx="3043238" cy="466725"/>
          </a:xfrm>
          <a:prstGeom prst="rect">
            <a:avLst/>
          </a:prstGeom>
        </p:spPr>
        <p:txBody>
          <a:bodyPr vert="horz" lIns="90378" tIns="45190" rIns="90378" bIns="45190" rtlCol="0" anchor="b"/>
          <a:lstStyle>
            <a:lvl1pPr algn="r">
              <a:defRPr sz="1200"/>
            </a:lvl1pPr>
          </a:lstStyle>
          <a:p>
            <a:fld id="{4AE956D3-FD57-457D-8F40-FAC78B4C2BE7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5329330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AE956D3-FD57-457D-8F40-FAC78B4C2BE7}" type="slidenum">
              <a:rPr lang="en-US" smtClean="0"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57016767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AE956D3-FD57-457D-8F40-FAC78B4C2BE7}" type="slidenum">
              <a:rPr lang="en-US" smtClean="0"/>
              <a:t>1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6601094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AE956D3-FD57-457D-8F40-FAC78B4C2BE7}" type="slidenum">
              <a:rPr lang="en-US" smtClean="0"/>
              <a:t>1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48282128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AE956D3-FD57-457D-8F40-FAC78B4C2BE7}" type="slidenum">
              <a:rPr lang="en-US" smtClean="0"/>
              <a:t>1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817908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AE956D3-FD57-457D-8F40-FAC78B4C2BE7}" type="slidenum">
              <a:rPr lang="en-US" smtClean="0"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1437312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AE956D3-FD57-457D-8F40-FAC78B4C2BE7}" type="slidenum">
              <a:rPr lang="en-US" smtClean="0"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3530778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AE956D3-FD57-457D-8F40-FAC78B4C2BE7}" type="slidenum">
              <a:rPr lang="en-US" smtClean="0"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8974399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AE956D3-FD57-457D-8F40-FAC78B4C2BE7}" type="slidenum">
              <a:rPr lang="en-US" smtClean="0"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080997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AE956D3-FD57-457D-8F40-FAC78B4C2BE7}" type="slidenum">
              <a:rPr lang="en-US" smtClean="0"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4701875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AE956D3-FD57-457D-8F40-FAC78B4C2BE7}" type="slidenum">
              <a:rPr lang="en-US" smtClean="0"/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1614868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AE956D3-FD57-457D-8F40-FAC78B4C2BE7}" type="slidenum">
              <a:rPr lang="en-US" smtClean="0"/>
              <a:t>1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9968447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AE956D3-FD57-457D-8F40-FAC78B4C2BE7}" type="slidenum">
              <a:rPr lang="en-US" smtClean="0"/>
              <a:t>1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0728259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5" Type="http://schemas.openxmlformats.org/officeDocument/2006/relationships/image" Target="../media/image3.emf"/><Relationship Id="rId4" Type="http://schemas.openxmlformats.org/officeDocument/2006/relationships/image" Target="../media/image2.emf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5" Type="http://schemas.openxmlformats.org/officeDocument/2006/relationships/image" Target="../media/image3.emf"/><Relationship Id="rId4" Type="http://schemas.openxmlformats.org/officeDocument/2006/relationships/image" Target="../media/image2.emf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5" Type="http://schemas.openxmlformats.org/officeDocument/2006/relationships/image" Target="../media/image3.emf"/><Relationship Id="rId4" Type="http://schemas.openxmlformats.org/officeDocument/2006/relationships/image" Target="../media/image2.emf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5" Type="http://schemas.openxmlformats.org/officeDocument/2006/relationships/image" Target="../media/image3.emf"/><Relationship Id="rId4" Type="http://schemas.openxmlformats.org/officeDocument/2006/relationships/image" Target="../media/image2.emf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5" Type="http://schemas.openxmlformats.org/officeDocument/2006/relationships/image" Target="../media/image3.emf"/><Relationship Id="rId4" Type="http://schemas.openxmlformats.org/officeDocument/2006/relationships/image" Target="../media/image2.emf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6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5" Type="http://schemas.openxmlformats.org/officeDocument/2006/relationships/image" Target="../media/image3.emf"/><Relationship Id="rId4" Type="http://schemas.openxmlformats.org/officeDocument/2006/relationships/image" Target="../media/image2.emf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7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5" Type="http://schemas.openxmlformats.org/officeDocument/2006/relationships/image" Target="../media/image3.emf"/><Relationship Id="rId4" Type="http://schemas.openxmlformats.org/officeDocument/2006/relationships/image" Target="../media/image2.emf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8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5" Type="http://schemas.openxmlformats.org/officeDocument/2006/relationships/image" Target="../media/image3.emf"/><Relationship Id="rId4" Type="http://schemas.openxmlformats.org/officeDocument/2006/relationships/image" Target="../media/image2.emf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396875" y="1463675"/>
            <a:ext cx="8434388" cy="1524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en-US" dirty="0"/>
          </a:p>
        </p:txBody>
      </p:sp>
      <p:sp>
        <p:nvSpPr>
          <p:cNvPr id="3" name="Rectangle 10"/>
          <p:cNvSpPr/>
          <p:nvPr/>
        </p:nvSpPr>
        <p:spPr>
          <a:xfrm>
            <a:off x="327025" y="625475"/>
            <a:ext cx="7673975" cy="2349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en-US" dirty="0"/>
          </a:p>
        </p:txBody>
      </p:sp>
      <p:sp>
        <p:nvSpPr>
          <p:cNvPr id="4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algn="r">
              <a:defRPr sz="800"/>
            </a:lvl1pPr>
          </a:lstStyle>
          <a:p>
            <a:fld id="{F809FA0C-9138-4409-9FF5-7DACD331B09B}" type="datetime1">
              <a:rPr lang="en-US" smtClean="0"/>
              <a:pPr/>
              <a:t>9/7/2018</a:t>
            </a:fld>
            <a:endParaRPr lang="en-US" dirty="0"/>
          </a:p>
        </p:txBody>
      </p:sp>
      <p:sp>
        <p:nvSpPr>
          <p:cNvPr id="6" name="TextBox 6"/>
          <p:cNvSpPr txBox="1">
            <a:spLocks noChangeArrowheads="1"/>
          </p:cNvSpPr>
          <p:nvPr/>
        </p:nvSpPr>
        <p:spPr bwMode="auto">
          <a:xfrm>
            <a:off x="3265488" y="6283325"/>
            <a:ext cx="2613025" cy="215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defRPr/>
            </a:pPr>
            <a:r>
              <a:rPr lang="en-US" sz="800" dirty="0" smtClean="0"/>
              <a:t>For Discussion &amp; Policy Purposes Only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85" y="829056"/>
            <a:ext cx="7751547" cy="466344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4" y="381000"/>
            <a:ext cx="7309716" cy="22860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cxnSp>
        <p:nvCxnSpPr>
          <p:cNvPr id="9" name="Straight Connector 8"/>
          <p:cNvCxnSpPr/>
          <p:nvPr/>
        </p:nvCxnSpPr>
        <p:spPr>
          <a:xfrm>
            <a:off x="447675" y="720725"/>
            <a:ext cx="7499350" cy="0"/>
          </a:xfrm>
          <a:prstGeom prst="line">
            <a:avLst/>
          </a:prstGeom>
          <a:ln w="12700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B85839-DE7E-4765-A9A0-B3F73C84A708}" type="datetime1">
              <a:rPr lang="en-US" smtClean="0">
                <a:solidFill>
                  <a:srgbClr val="000000"/>
                </a:solidFill>
              </a:rPr>
              <a:pPr/>
              <a:t>9/7/2018</a:t>
            </a:fld>
            <a:endParaRPr lang="en-US" dirty="0">
              <a:solidFill>
                <a:srgbClr val="000000"/>
              </a:solidFill>
            </a:endParaRPr>
          </a:p>
        </p:txBody>
      </p:sp>
      <p:pic>
        <p:nvPicPr>
          <p:cNvPr id="7" name="Picture 6" descr="newMekkoChart.emf"/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524191" y="1243330"/>
            <a:ext cx="4284821" cy="5488940"/>
          </a:xfrm>
          <a:prstGeom prst="rect">
            <a:avLst/>
          </a:prstGeom>
        </p:spPr>
      </p:pic>
      <p:pic>
        <p:nvPicPr>
          <p:cNvPr id="11" name="Picture 10" descr="newMekkoChart.emf"/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5060472" y="1243330"/>
            <a:ext cx="4284821" cy="5488940"/>
          </a:xfrm>
          <a:prstGeom prst="rect">
            <a:avLst/>
          </a:prstGeom>
        </p:spPr>
      </p:pic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462685" y="829056"/>
            <a:ext cx="7751547" cy="466344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4" y="381000"/>
            <a:ext cx="7309716" cy="22860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2337680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396875" y="1463675"/>
            <a:ext cx="8434388" cy="1524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3" name="Rectangle 10"/>
          <p:cNvSpPr/>
          <p:nvPr/>
        </p:nvSpPr>
        <p:spPr>
          <a:xfrm>
            <a:off x="327025" y="625475"/>
            <a:ext cx="7673975" cy="2349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4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algn="r">
              <a:defRPr sz="800"/>
            </a:lvl1pPr>
          </a:lstStyle>
          <a:p>
            <a:fld id="{F809FA0C-9138-4409-9FF5-7DACD331B09B}" type="datetime1">
              <a:rPr lang="en-US" smtClean="0">
                <a:solidFill>
                  <a:srgbClr val="000000"/>
                </a:solidFill>
              </a:rPr>
              <a:pPr/>
              <a:t>9/7/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TextBox 6"/>
          <p:cNvSpPr txBox="1">
            <a:spLocks noChangeArrowheads="1"/>
          </p:cNvSpPr>
          <p:nvPr userDrawn="1"/>
        </p:nvSpPr>
        <p:spPr bwMode="auto">
          <a:xfrm>
            <a:off x="3265488" y="6283325"/>
            <a:ext cx="2613025" cy="215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>
              <a:defRPr/>
            </a:pPr>
            <a:r>
              <a:rPr lang="en-US" sz="800" dirty="0" smtClean="0"/>
              <a:t>For </a:t>
            </a:r>
            <a:r>
              <a:rPr lang="en-US" sz="800" dirty="0" smtClean="0">
                <a:solidFill>
                  <a:srgbClr val="000000"/>
                </a:solidFill>
              </a:rPr>
              <a:t>Discussion &amp; Policy Purposes Only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85" y="829056"/>
            <a:ext cx="7751547" cy="466344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4" y="381000"/>
            <a:ext cx="7309716" cy="22860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447675" y="720725"/>
            <a:ext cx="7499350" cy="0"/>
          </a:xfrm>
          <a:prstGeom prst="line">
            <a:avLst/>
          </a:prstGeom>
          <a:ln w="12700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9809563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470001" y="1698958"/>
            <a:ext cx="8348472" cy="443849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400050" indent="-17780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7150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74295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74295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4" name="Date Placeholder 1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/>
            </a:lvl1pPr>
          </a:lstStyle>
          <a:p>
            <a:fld id="{20FA1DF3-6E5F-4A59-9A2C-E3FEDDFEF6C6}" type="datetime1">
              <a:rPr lang="en-US" smtClean="0">
                <a:solidFill>
                  <a:srgbClr val="000000"/>
                </a:solidFill>
              </a:rPr>
              <a:pPr/>
              <a:t>9/7/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TextBox 6"/>
          <p:cNvSpPr txBox="1">
            <a:spLocks noChangeArrowheads="1"/>
          </p:cNvSpPr>
          <p:nvPr userDrawn="1"/>
        </p:nvSpPr>
        <p:spPr bwMode="auto">
          <a:xfrm>
            <a:off x="3265488" y="6283325"/>
            <a:ext cx="2613025" cy="215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>
              <a:defRPr/>
            </a:pPr>
            <a:r>
              <a:rPr lang="en-US" sz="800" dirty="0" smtClean="0"/>
              <a:t>For </a:t>
            </a:r>
            <a:r>
              <a:rPr lang="en-US" sz="800" dirty="0" smtClean="0">
                <a:solidFill>
                  <a:srgbClr val="000000"/>
                </a:solidFill>
              </a:rPr>
              <a:t>Discussion &amp; Policy Purposes Only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85" y="829056"/>
            <a:ext cx="7751547" cy="466344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4" y="381000"/>
            <a:ext cx="7309716" cy="22860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6527921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de by 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8"/>
          <p:cNvSpPr>
            <a:spLocks noGrp="1"/>
          </p:cNvSpPr>
          <p:nvPr>
            <p:ph sz="quarter" idx="16"/>
          </p:nvPr>
        </p:nvSpPr>
        <p:spPr>
          <a:xfrm>
            <a:off x="470001" y="1698958"/>
            <a:ext cx="3957219" cy="443849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400050" indent="-17780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7150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74295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74295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10" name="Content Placeholder 8"/>
          <p:cNvSpPr>
            <a:spLocks noGrp="1"/>
          </p:cNvSpPr>
          <p:nvPr>
            <p:ph sz="quarter" idx="17"/>
          </p:nvPr>
        </p:nvSpPr>
        <p:spPr>
          <a:xfrm>
            <a:off x="4600041" y="1695148"/>
            <a:ext cx="3957219" cy="443849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400050" indent="-17780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7150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74295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74295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6" name="Date Placeholder 1"/>
          <p:cNvSpPr>
            <a:spLocks noGrp="1"/>
          </p:cNvSpPr>
          <p:nvPr>
            <p:ph type="dt" sz="half" idx="18"/>
          </p:nvPr>
        </p:nvSpPr>
        <p:spPr/>
        <p:txBody>
          <a:bodyPr/>
          <a:lstStyle>
            <a:lvl1pPr>
              <a:defRPr/>
            </a:lvl1pPr>
          </a:lstStyle>
          <a:p>
            <a:fld id="{1AB85839-DE7E-4765-A9A0-B3F73C84A708}" type="datetime1">
              <a:rPr lang="en-US" smtClean="0">
                <a:solidFill>
                  <a:srgbClr val="000000"/>
                </a:solidFill>
              </a:rPr>
              <a:pPr/>
              <a:t>9/7/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7" name="TextBox 6"/>
          <p:cNvSpPr txBox="1">
            <a:spLocks noChangeArrowheads="1"/>
          </p:cNvSpPr>
          <p:nvPr userDrawn="1"/>
        </p:nvSpPr>
        <p:spPr bwMode="auto">
          <a:xfrm>
            <a:off x="3265488" y="6283325"/>
            <a:ext cx="2613025" cy="215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>
              <a:defRPr/>
            </a:pPr>
            <a:r>
              <a:rPr lang="en-US" sz="800" dirty="0" smtClean="0"/>
              <a:t>For </a:t>
            </a:r>
            <a:r>
              <a:rPr lang="en-US" sz="800" dirty="0" smtClean="0">
                <a:solidFill>
                  <a:srgbClr val="000000"/>
                </a:solidFill>
              </a:rPr>
              <a:t>Discussion &amp; Policy Purposes Only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462685" y="829056"/>
            <a:ext cx="7751547" cy="466344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2" name="Text Placeholder 12"/>
          <p:cNvSpPr>
            <a:spLocks noGrp="1"/>
          </p:cNvSpPr>
          <p:nvPr>
            <p:ph type="body" sz="quarter" idx="19"/>
          </p:nvPr>
        </p:nvSpPr>
        <p:spPr>
          <a:xfrm>
            <a:off x="462684" y="381000"/>
            <a:ext cx="7309716" cy="22860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41399515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dt="0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B85839-DE7E-4765-A9A0-B3F73C84A708}" type="datetime1">
              <a:rPr lang="en-US" smtClean="0">
                <a:solidFill>
                  <a:srgbClr val="000000"/>
                </a:solidFill>
              </a:rPr>
              <a:pPr/>
              <a:t>9/7/2018</a:t>
            </a:fld>
            <a:endParaRPr lang="en-US" dirty="0">
              <a:solidFill>
                <a:srgbClr val="000000"/>
              </a:solidFill>
            </a:endParaRPr>
          </a:p>
        </p:txBody>
      </p:sp>
      <p:pic>
        <p:nvPicPr>
          <p:cNvPr id="7" name="Picture 6" descr="newMekkoChart.emf"/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524191" y="1243330"/>
            <a:ext cx="4284821" cy="5488940"/>
          </a:xfrm>
          <a:prstGeom prst="rect">
            <a:avLst/>
          </a:prstGeom>
        </p:spPr>
      </p:pic>
      <p:pic>
        <p:nvPicPr>
          <p:cNvPr id="11" name="Picture 10" descr="newMekkoChart.emf"/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5060472" y="1243330"/>
            <a:ext cx="4284821" cy="5488940"/>
          </a:xfrm>
          <a:prstGeom prst="rect">
            <a:avLst/>
          </a:prstGeom>
        </p:spPr>
      </p:pic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462685" y="829056"/>
            <a:ext cx="7751547" cy="466344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4" y="381000"/>
            <a:ext cx="7309716" cy="22860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6625886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396875" y="1463675"/>
            <a:ext cx="8434388" cy="1524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3" name="Rectangle 10"/>
          <p:cNvSpPr/>
          <p:nvPr/>
        </p:nvSpPr>
        <p:spPr>
          <a:xfrm>
            <a:off x="327025" y="625475"/>
            <a:ext cx="7673975" cy="2349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4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algn="r">
              <a:defRPr sz="800"/>
            </a:lvl1pPr>
          </a:lstStyle>
          <a:p>
            <a:fld id="{F809FA0C-9138-4409-9FF5-7DACD331B09B}" type="datetime1">
              <a:rPr lang="en-US" smtClean="0">
                <a:solidFill>
                  <a:srgbClr val="000000"/>
                </a:solidFill>
              </a:rPr>
              <a:pPr/>
              <a:t>9/7/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TextBox 6"/>
          <p:cNvSpPr txBox="1">
            <a:spLocks noChangeArrowheads="1"/>
          </p:cNvSpPr>
          <p:nvPr userDrawn="1"/>
        </p:nvSpPr>
        <p:spPr bwMode="auto">
          <a:xfrm>
            <a:off x="3265488" y="6283325"/>
            <a:ext cx="2613025" cy="215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>
              <a:defRPr/>
            </a:pPr>
            <a:r>
              <a:rPr lang="en-US" sz="800" dirty="0" smtClean="0"/>
              <a:t>For </a:t>
            </a:r>
            <a:r>
              <a:rPr lang="en-US" sz="800" dirty="0" smtClean="0">
                <a:solidFill>
                  <a:srgbClr val="000000"/>
                </a:solidFill>
              </a:rPr>
              <a:t>Discussion &amp; Policy Purposes Only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85" y="829056"/>
            <a:ext cx="7751547" cy="466344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4" y="381000"/>
            <a:ext cx="7309716" cy="22860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447675" y="720725"/>
            <a:ext cx="7499350" cy="0"/>
          </a:xfrm>
          <a:prstGeom prst="line">
            <a:avLst/>
          </a:prstGeom>
          <a:ln w="12700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2936624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470001" y="1698958"/>
            <a:ext cx="8348472" cy="443849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400050" indent="-17780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7150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74295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74295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4" name="Date Placeholder 1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/>
            </a:lvl1pPr>
          </a:lstStyle>
          <a:p>
            <a:fld id="{20FA1DF3-6E5F-4A59-9A2C-E3FEDDFEF6C6}" type="datetime1">
              <a:rPr lang="en-US" smtClean="0">
                <a:solidFill>
                  <a:srgbClr val="000000"/>
                </a:solidFill>
              </a:rPr>
              <a:pPr/>
              <a:t>9/7/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TextBox 6"/>
          <p:cNvSpPr txBox="1">
            <a:spLocks noChangeArrowheads="1"/>
          </p:cNvSpPr>
          <p:nvPr userDrawn="1"/>
        </p:nvSpPr>
        <p:spPr bwMode="auto">
          <a:xfrm>
            <a:off x="3265488" y="6283325"/>
            <a:ext cx="2613025" cy="215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>
              <a:defRPr/>
            </a:pPr>
            <a:r>
              <a:rPr lang="en-US" sz="800" dirty="0" smtClean="0"/>
              <a:t>For </a:t>
            </a:r>
            <a:r>
              <a:rPr lang="en-US" sz="800" dirty="0" smtClean="0">
                <a:solidFill>
                  <a:srgbClr val="000000"/>
                </a:solidFill>
              </a:rPr>
              <a:t>Discussion &amp; Policy Purposes Only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85" y="829056"/>
            <a:ext cx="7751547" cy="466344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4" y="381000"/>
            <a:ext cx="7309716" cy="22860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6096022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de by 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8"/>
          <p:cNvSpPr>
            <a:spLocks noGrp="1"/>
          </p:cNvSpPr>
          <p:nvPr>
            <p:ph sz="quarter" idx="16"/>
          </p:nvPr>
        </p:nvSpPr>
        <p:spPr>
          <a:xfrm>
            <a:off x="470001" y="1698958"/>
            <a:ext cx="3957219" cy="443849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400050" indent="-17780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7150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74295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74295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10" name="Content Placeholder 8"/>
          <p:cNvSpPr>
            <a:spLocks noGrp="1"/>
          </p:cNvSpPr>
          <p:nvPr>
            <p:ph sz="quarter" idx="17"/>
          </p:nvPr>
        </p:nvSpPr>
        <p:spPr>
          <a:xfrm>
            <a:off x="4600041" y="1695148"/>
            <a:ext cx="3957219" cy="443849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400050" indent="-17780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7150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74295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74295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6" name="Date Placeholder 1"/>
          <p:cNvSpPr>
            <a:spLocks noGrp="1"/>
          </p:cNvSpPr>
          <p:nvPr>
            <p:ph type="dt" sz="half" idx="18"/>
          </p:nvPr>
        </p:nvSpPr>
        <p:spPr/>
        <p:txBody>
          <a:bodyPr/>
          <a:lstStyle>
            <a:lvl1pPr>
              <a:defRPr/>
            </a:lvl1pPr>
          </a:lstStyle>
          <a:p>
            <a:fld id="{1AB85839-DE7E-4765-A9A0-B3F73C84A708}" type="datetime1">
              <a:rPr lang="en-US" smtClean="0">
                <a:solidFill>
                  <a:srgbClr val="000000"/>
                </a:solidFill>
              </a:rPr>
              <a:pPr/>
              <a:t>9/7/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7" name="TextBox 6"/>
          <p:cNvSpPr txBox="1">
            <a:spLocks noChangeArrowheads="1"/>
          </p:cNvSpPr>
          <p:nvPr userDrawn="1"/>
        </p:nvSpPr>
        <p:spPr bwMode="auto">
          <a:xfrm>
            <a:off x="3265488" y="6283325"/>
            <a:ext cx="2613025" cy="215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>
              <a:defRPr/>
            </a:pPr>
            <a:r>
              <a:rPr lang="en-US" sz="800" dirty="0" smtClean="0"/>
              <a:t>For </a:t>
            </a:r>
            <a:r>
              <a:rPr lang="en-US" sz="800" dirty="0" smtClean="0">
                <a:solidFill>
                  <a:srgbClr val="000000"/>
                </a:solidFill>
              </a:rPr>
              <a:t>Discussion &amp; Policy Purposes Only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462685" y="829056"/>
            <a:ext cx="7751547" cy="466344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2" name="Text Placeholder 12"/>
          <p:cNvSpPr>
            <a:spLocks noGrp="1"/>
          </p:cNvSpPr>
          <p:nvPr>
            <p:ph type="body" sz="quarter" idx="19"/>
          </p:nvPr>
        </p:nvSpPr>
        <p:spPr>
          <a:xfrm>
            <a:off x="462684" y="381000"/>
            <a:ext cx="7309716" cy="22860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45982873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dt="0"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B85839-DE7E-4765-A9A0-B3F73C84A708}" type="datetime1">
              <a:rPr lang="en-US" smtClean="0">
                <a:solidFill>
                  <a:srgbClr val="000000"/>
                </a:solidFill>
              </a:rPr>
              <a:pPr/>
              <a:t>9/7/2018</a:t>
            </a:fld>
            <a:endParaRPr lang="en-US" dirty="0">
              <a:solidFill>
                <a:srgbClr val="000000"/>
              </a:solidFill>
            </a:endParaRPr>
          </a:p>
        </p:txBody>
      </p:sp>
      <p:pic>
        <p:nvPicPr>
          <p:cNvPr id="7" name="Picture 6" descr="newMekkoChart.emf"/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524191" y="1243330"/>
            <a:ext cx="4284821" cy="5488940"/>
          </a:xfrm>
          <a:prstGeom prst="rect">
            <a:avLst/>
          </a:prstGeom>
        </p:spPr>
      </p:pic>
      <p:pic>
        <p:nvPicPr>
          <p:cNvPr id="11" name="Picture 10" descr="newMekkoChart.emf"/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5060472" y="1243330"/>
            <a:ext cx="4284821" cy="5488940"/>
          </a:xfrm>
          <a:prstGeom prst="rect">
            <a:avLst/>
          </a:prstGeom>
        </p:spPr>
      </p:pic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462685" y="829056"/>
            <a:ext cx="7751547" cy="466344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4" y="381000"/>
            <a:ext cx="7309716" cy="22860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17413760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396875" y="1463675"/>
            <a:ext cx="8434388" cy="1524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3" name="Rectangle 10"/>
          <p:cNvSpPr/>
          <p:nvPr/>
        </p:nvSpPr>
        <p:spPr>
          <a:xfrm>
            <a:off x="327025" y="625475"/>
            <a:ext cx="7673975" cy="2349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4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algn="r">
              <a:defRPr sz="800"/>
            </a:lvl1pPr>
          </a:lstStyle>
          <a:p>
            <a:fld id="{F809FA0C-9138-4409-9FF5-7DACD331B09B}" type="datetime1">
              <a:rPr lang="en-US" smtClean="0">
                <a:solidFill>
                  <a:srgbClr val="000000"/>
                </a:solidFill>
              </a:rPr>
              <a:pPr/>
              <a:t>9/7/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TextBox 6"/>
          <p:cNvSpPr txBox="1">
            <a:spLocks noChangeArrowheads="1"/>
          </p:cNvSpPr>
          <p:nvPr userDrawn="1"/>
        </p:nvSpPr>
        <p:spPr bwMode="auto">
          <a:xfrm>
            <a:off x="3265488" y="6283325"/>
            <a:ext cx="2613025" cy="215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>
              <a:defRPr/>
            </a:pPr>
            <a:r>
              <a:rPr lang="en-US" sz="800" dirty="0" smtClean="0"/>
              <a:t>For </a:t>
            </a:r>
            <a:r>
              <a:rPr lang="en-US" sz="800" dirty="0" smtClean="0">
                <a:solidFill>
                  <a:srgbClr val="000000"/>
                </a:solidFill>
              </a:rPr>
              <a:t>Discussion &amp; Policy Purposes Only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85" y="829056"/>
            <a:ext cx="7751547" cy="466344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4" y="381000"/>
            <a:ext cx="7309716" cy="22860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447675" y="720725"/>
            <a:ext cx="7499350" cy="0"/>
          </a:xfrm>
          <a:prstGeom prst="line">
            <a:avLst/>
          </a:prstGeom>
          <a:ln w="12700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4673132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470001" y="1698958"/>
            <a:ext cx="8348472" cy="443849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400050" indent="-17780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7150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74295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74295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4" name="Date Placeholder 1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/>
            </a:lvl1pPr>
          </a:lstStyle>
          <a:p>
            <a:fld id="{20FA1DF3-6E5F-4A59-9A2C-E3FEDDFEF6C6}" type="datetime1">
              <a:rPr lang="en-US" smtClean="0"/>
              <a:pPr/>
              <a:t>9/7/2018</a:t>
            </a:fld>
            <a:endParaRPr lang="en-US" dirty="0"/>
          </a:p>
        </p:txBody>
      </p:sp>
      <p:sp>
        <p:nvSpPr>
          <p:cNvPr id="5" name="TextBox 6"/>
          <p:cNvSpPr txBox="1">
            <a:spLocks noChangeArrowheads="1"/>
          </p:cNvSpPr>
          <p:nvPr/>
        </p:nvSpPr>
        <p:spPr bwMode="auto">
          <a:xfrm>
            <a:off x="3265488" y="6283325"/>
            <a:ext cx="2613025" cy="215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defRPr/>
            </a:pPr>
            <a:r>
              <a:rPr lang="en-US" sz="800" dirty="0" smtClean="0"/>
              <a:t>For Discussion &amp; Policy Purposes Only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85" y="829056"/>
            <a:ext cx="7751547" cy="466344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4" y="381000"/>
            <a:ext cx="7309716" cy="22860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470001" y="1698958"/>
            <a:ext cx="8348472" cy="443849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400050" indent="-17780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7150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74295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74295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4" name="Date Placeholder 1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/>
            </a:lvl1pPr>
          </a:lstStyle>
          <a:p>
            <a:fld id="{20FA1DF3-6E5F-4A59-9A2C-E3FEDDFEF6C6}" type="datetime1">
              <a:rPr lang="en-US" smtClean="0">
                <a:solidFill>
                  <a:srgbClr val="000000"/>
                </a:solidFill>
              </a:rPr>
              <a:pPr/>
              <a:t>9/7/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TextBox 6"/>
          <p:cNvSpPr txBox="1">
            <a:spLocks noChangeArrowheads="1"/>
          </p:cNvSpPr>
          <p:nvPr userDrawn="1"/>
        </p:nvSpPr>
        <p:spPr bwMode="auto">
          <a:xfrm>
            <a:off x="3265488" y="6283325"/>
            <a:ext cx="2613025" cy="215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>
              <a:defRPr/>
            </a:pPr>
            <a:r>
              <a:rPr lang="en-US" sz="800" dirty="0" smtClean="0">
                <a:solidFill>
                  <a:srgbClr val="000000"/>
                </a:solidFill>
              </a:rPr>
              <a:t>Draft for Discussion &amp; Policy Purposes Only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85" y="829056"/>
            <a:ext cx="7751547" cy="466344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4" y="381000"/>
            <a:ext cx="7309716" cy="22860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8798192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de by 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8"/>
          <p:cNvSpPr>
            <a:spLocks noGrp="1"/>
          </p:cNvSpPr>
          <p:nvPr>
            <p:ph sz="quarter" idx="16"/>
          </p:nvPr>
        </p:nvSpPr>
        <p:spPr>
          <a:xfrm>
            <a:off x="470001" y="1698958"/>
            <a:ext cx="3957219" cy="443849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400050" indent="-17780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7150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74295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74295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10" name="Content Placeholder 8"/>
          <p:cNvSpPr>
            <a:spLocks noGrp="1"/>
          </p:cNvSpPr>
          <p:nvPr>
            <p:ph sz="quarter" idx="17"/>
          </p:nvPr>
        </p:nvSpPr>
        <p:spPr>
          <a:xfrm>
            <a:off x="4600041" y="1695148"/>
            <a:ext cx="3957219" cy="443849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400050" indent="-17780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7150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74295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74295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6" name="Date Placeholder 1"/>
          <p:cNvSpPr>
            <a:spLocks noGrp="1"/>
          </p:cNvSpPr>
          <p:nvPr>
            <p:ph type="dt" sz="half" idx="18"/>
          </p:nvPr>
        </p:nvSpPr>
        <p:spPr/>
        <p:txBody>
          <a:bodyPr/>
          <a:lstStyle>
            <a:lvl1pPr>
              <a:defRPr/>
            </a:lvl1pPr>
          </a:lstStyle>
          <a:p>
            <a:fld id="{1AB85839-DE7E-4765-A9A0-B3F73C84A708}" type="datetime1">
              <a:rPr lang="en-US" smtClean="0">
                <a:solidFill>
                  <a:srgbClr val="000000"/>
                </a:solidFill>
              </a:rPr>
              <a:pPr/>
              <a:t>9/7/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7" name="TextBox 6"/>
          <p:cNvSpPr txBox="1">
            <a:spLocks noChangeArrowheads="1"/>
          </p:cNvSpPr>
          <p:nvPr userDrawn="1"/>
        </p:nvSpPr>
        <p:spPr bwMode="auto">
          <a:xfrm>
            <a:off x="3265488" y="6283325"/>
            <a:ext cx="2613025" cy="215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>
              <a:defRPr/>
            </a:pPr>
            <a:r>
              <a:rPr lang="en-US" sz="800" dirty="0" smtClean="0"/>
              <a:t>For </a:t>
            </a:r>
            <a:r>
              <a:rPr lang="en-US" sz="800" dirty="0" smtClean="0">
                <a:solidFill>
                  <a:srgbClr val="000000"/>
                </a:solidFill>
              </a:rPr>
              <a:t>Discussion &amp; Policy Purposes Only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462685" y="829056"/>
            <a:ext cx="7751547" cy="466344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2" name="Text Placeholder 12"/>
          <p:cNvSpPr>
            <a:spLocks noGrp="1"/>
          </p:cNvSpPr>
          <p:nvPr>
            <p:ph type="body" sz="quarter" idx="19"/>
          </p:nvPr>
        </p:nvSpPr>
        <p:spPr>
          <a:xfrm>
            <a:off x="462684" y="381000"/>
            <a:ext cx="7309716" cy="22860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432629181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dt="0"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B85839-DE7E-4765-A9A0-B3F73C84A708}" type="datetime1">
              <a:rPr lang="en-US" smtClean="0">
                <a:solidFill>
                  <a:srgbClr val="000000"/>
                </a:solidFill>
              </a:rPr>
              <a:pPr/>
              <a:t>9/7/2018</a:t>
            </a:fld>
            <a:endParaRPr lang="en-US" dirty="0">
              <a:solidFill>
                <a:srgbClr val="000000"/>
              </a:solidFill>
            </a:endParaRPr>
          </a:p>
        </p:txBody>
      </p:sp>
      <p:pic>
        <p:nvPicPr>
          <p:cNvPr id="7" name="Picture 6" descr="newMekkoChart.emf"/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524191" y="1243330"/>
            <a:ext cx="4284821" cy="5488940"/>
          </a:xfrm>
          <a:prstGeom prst="rect">
            <a:avLst/>
          </a:prstGeom>
        </p:spPr>
      </p:pic>
      <p:pic>
        <p:nvPicPr>
          <p:cNvPr id="11" name="Picture 10" descr="newMekkoChart.emf"/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5060472" y="1243330"/>
            <a:ext cx="4284821" cy="5488940"/>
          </a:xfrm>
          <a:prstGeom prst="rect">
            <a:avLst/>
          </a:prstGeom>
        </p:spPr>
      </p:pic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462685" y="829056"/>
            <a:ext cx="7751547" cy="466344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4" y="381000"/>
            <a:ext cx="7309716" cy="22860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1440729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396876" y="1463675"/>
            <a:ext cx="8434388" cy="1524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350" dirty="0">
              <a:solidFill>
                <a:srgbClr val="FFFFFF"/>
              </a:solidFill>
            </a:endParaRPr>
          </a:p>
        </p:txBody>
      </p:sp>
      <p:sp>
        <p:nvSpPr>
          <p:cNvPr id="3" name="Rectangle 10"/>
          <p:cNvSpPr/>
          <p:nvPr/>
        </p:nvSpPr>
        <p:spPr>
          <a:xfrm>
            <a:off x="327026" y="625475"/>
            <a:ext cx="7673975" cy="2349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350" dirty="0">
              <a:solidFill>
                <a:srgbClr val="FFFFFF"/>
              </a:solidFill>
            </a:endParaRPr>
          </a:p>
        </p:txBody>
      </p:sp>
      <p:sp>
        <p:nvSpPr>
          <p:cNvPr id="4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algn="r">
              <a:defRPr sz="600"/>
            </a:lvl1pPr>
          </a:lstStyle>
          <a:p>
            <a:fld id="{F809FA0C-9138-4409-9FF5-7DACD331B09B}" type="datetime1">
              <a:rPr lang="en-US" smtClean="0">
                <a:solidFill>
                  <a:srgbClr val="000000"/>
                </a:solidFill>
              </a:rPr>
              <a:pPr/>
              <a:t>9/7/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TextBox 6"/>
          <p:cNvSpPr txBox="1">
            <a:spLocks noChangeArrowheads="1"/>
          </p:cNvSpPr>
          <p:nvPr/>
        </p:nvSpPr>
        <p:spPr bwMode="auto">
          <a:xfrm>
            <a:off x="3265489" y="6283325"/>
            <a:ext cx="2613025" cy="200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>
              <a:defRPr/>
            </a:pPr>
            <a:r>
              <a:rPr lang="en-US" sz="700" dirty="0" smtClean="0"/>
              <a:t>For </a:t>
            </a:r>
            <a:r>
              <a:rPr lang="en-US" sz="600" dirty="0" smtClean="0">
                <a:solidFill>
                  <a:srgbClr val="000000"/>
                </a:solidFill>
              </a:rPr>
              <a:t>Discussion &amp; Policy Purposes Only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86" y="829056"/>
            <a:ext cx="7751547" cy="466344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12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4" y="381000"/>
            <a:ext cx="7309716" cy="22860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825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cxnSp>
        <p:nvCxnSpPr>
          <p:cNvPr id="9" name="Straight Connector 8"/>
          <p:cNvCxnSpPr/>
          <p:nvPr/>
        </p:nvCxnSpPr>
        <p:spPr>
          <a:xfrm>
            <a:off x="447675" y="720725"/>
            <a:ext cx="7499350" cy="0"/>
          </a:xfrm>
          <a:prstGeom prst="line">
            <a:avLst/>
          </a:prstGeom>
          <a:ln w="12700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6960871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470001" y="1698958"/>
            <a:ext cx="8348472" cy="443849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750"/>
              </a:spcBef>
              <a:buClr>
                <a:schemeClr val="tx1"/>
              </a:buClr>
              <a:buFont typeface="Arial" pitchFamily="34" charset="0"/>
              <a:buNone/>
              <a:defRPr sz="9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300038" indent="-133350">
              <a:spcBef>
                <a:spcPts val="450"/>
              </a:spcBef>
              <a:buClr>
                <a:schemeClr val="tx1"/>
              </a:buClr>
              <a:buFont typeface="Arial" pitchFamily="34" charset="0"/>
              <a:buChar char="•"/>
              <a:defRPr sz="9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428625" indent="-128588">
              <a:spcBef>
                <a:spcPts val="450"/>
              </a:spcBef>
              <a:buClr>
                <a:schemeClr val="tx1"/>
              </a:buClr>
              <a:buFont typeface="Arial" pitchFamily="34" charset="0"/>
              <a:buChar char="›"/>
              <a:defRPr sz="9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557213" indent="-128588">
              <a:spcBef>
                <a:spcPts val="450"/>
              </a:spcBef>
              <a:buClr>
                <a:schemeClr val="tx1"/>
              </a:buClr>
              <a:buFont typeface="Arial" pitchFamily="34" charset="0"/>
              <a:buChar char="»"/>
              <a:defRPr sz="9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557213" indent="0">
              <a:spcBef>
                <a:spcPts val="450"/>
              </a:spcBef>
              <a:buClr>
                <a:schemeClr val="tx1"/>
              </a:buClr>
              <a:buFont typeface="Arial" pitchFamily="34" charset="0"/>
              <a:buNone/>
              <a:defRPr sz="9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4" name="Date Placeholder 1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/>
            </a:lvl1pPr>
          </a:lstStyle>
          <a:p>
            <a:fld id="{20FA1DF3-6E5F-4A59-9A2C-E3FEDDFEF6C6}" type="datetime1">
              <a:rPr lang="en-US" smtClean="0">
                <a:solidFill>
                  <a:srgbClr val="000000"/>
                </a:solidFill>
              </a:rPr>
              <a:pPr/>
              <a:t>9/7/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TextBox 6"/>
          <p:cNvSpPr txBox="1">
            <a:spLocks noChangeArrowheads="1"/>
          </p:cNvSpPr>
          <p:nvPr/>
        </p:nvSpPr>
        <p:spPr bwMode="auto">
          <a:xfrm>
            <a:off x="3265489" y="6283325"/>
            <a:ext cx="2613025" cy="200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>
              <a:defRPr/>
            </a:pPr>
            <a:r>
              <a:rPr lang="en-US" sz="700" dirty="0" smtClean="0"/>
              <a:t>For </a:t>
            </a:r>
            <a:r>
              <a:rPr lang="en-US" sz="600" dirty="0" smtClean="0">
                <a:solidFill>
                  <a:srgbClr val="000000"/>
                </a:solidFill>
              </a:rPr>
              <a:t>Discussion &amp; Policy Purposes Only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86" y="829056"/>
            <a:ext cx="7751547" cy="466344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12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4" y="381000"/>
            <a:ext cx="7309716" cy="22860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825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4644816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ide by 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8"/>
          <p:cNvSpPr>
            <a:spLocks noGrp="1"/>
          </p:cNvSpPr>
          <p:nvPr>
            <p:ph sz="quarter" idx="16"/>
          </p:nvPr>
        </p:nvSpPr>
        <p:spPr>
          <a:xfrm>
            <a:off x="470002" y="1698958"/>
            <a:ext cx="3957219" cy="443849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750"/>
              </a:spcBef>
              <a:buClr>
                <a:schemeClr val="tx1"/>
              </a:buClr>
              <a:buFont typeface="Arial" pitchFamily="34" charset="0"/>
              <a:buNone/>
              <a:defRPr sz="9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300038" indent="-133350">
              <a:spcBef>
                <a:spcPts val="450"/>
              </a:spcBef>
              <a:buClr>
                <a:schemeClr val="tx1"/>
              </a:buClr>
              <a:buFont typeface="Arial" pitchFamily="34" charset="0"/>
              <a:buChar char="•"/>
              <a:defRPr sz="9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428625" indent="-128588">
              <a:spcBef>
                <a:spcPts val="450"/>
              </a:spcBef>
              <a:buClr>
                <a:schemeClr val="tx1"/>
              </a:buClr>
              <a:buFont typeface="Arial" pitchFamily="34" charset="0"/>
              <a:buChar char="›"/>
              <a:defRPr sz="9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557213" indent="-128588">
              <a:spcBef>
                <a:spcPts val="450"/>
              </a:spcBef>
              <a:buClr>
                <a:schemeClr val="tx1"/>
              </a:buClr>
              <a:buFont typeface="Arial" pitchFamily="34" charset="0"/>
              <a:buChar char="»"/>
              <a:defRPr sz="9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557213" indent="0">
              <a:spcBef>
                <a:spcPts val="450"/>
              </a:spcBef>
              <a:buClr>
                <a:schemeClr val="tx1"/>
              </a:buClr>
              <a:buFont typeface="Arial" pitchFamily="34" charset="0"/>
              <a:buNone/>
              <a:defRPr sz="9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10" name="Content Placeholder 8"/>
          <p:cNvSpPr>
            <a:spLocks noGrp="1"/>
          </p:cNvSpPr>
          <p:nvPr>
            <p:ph sz="quarter" idx="17"/>
          </p:nvPr>
        </p:nvSpPr>
        <p:spPr>
          <a:xfrm>
            <a:off x="4600042" y="1695148"/>
            <a:ext cx="3957219" cy="443849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750"/>
              </a:spcBef>
              <a:buClr>
                <a:schemeClr val="tx1"/>
              </a:buClr>
              <a:buFont typeface="Arial" pitchFamily="34" charset="0"/>
              <a:buNone/>
              <a:defRPr sz="9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300038" indent="-133350">
              <a:spcBef>
                <a:spcPts val="450"/>
              </a:spcBef>
              <a:buClr>
                <a:schemeClr val="tx1"/>
              </a:buClr>
              <a:buFont typeface="Arial" pitchFamily="34" charset="0"/>
              <a:buChar char="•"/>
              <a:defRPr sz="9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428625" indent="-128588">
              <a:spcBef>
                <a:spcPts val="450"/>
              </a:spcBef>
              <a:buClr>
                <a:schemeClr val="tx1"/>
              </a:buClr>
              <a:buFont typeface="Arial" pitchFamily="34" charset="0"/>
              <a:buChar char="›"/>
              <a:defRPr sz="9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557213" indent="-128588">
              <a:spcBef>
                <a:spcPts val="450"/>
              </a:spcBef>
              <a:buClr>
                <a:schemeClr val="tx1"/>
              </a:buClr>
              <a:buFont typeface="Arial" pitchFamily="34" charset="0"/>
              <a:buChar char="»"/>
              <a:defRPr sz="9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557213" indent="0">
              <a:spcBef>
                <a:spcPts val="450"/>
              </a:spcBef>
              <a:buClr>
                <a:schemeClr val="tx1"/>
              </a:buClr>
              <a:buFont typeface="Arial" pitchFamily="34" charset="0"/>
              <a:buNone/>
              <a:defRPr sz="9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6" name="Date Placeholder 1"/>
          <p:cNvSpPr>
            <a:spLocks noGrp="1"/>
          </p:cNvSpPr>
          <p:nvPr>
            <p:ph type="dt" sz="half" idx="18"/>
          </p:nvPr>
        </p:nvSpPr>
        <p:spPr/>
        <p:txBody>
          <a:bodyPr/>
          <a:lstStyle>
            <a:lvl1pPr>
              <a:defRPr/>
            </a:lvl1pPr>
          </a:lstStyle>
          <a:p>
            <a:fld id="{1AB85839-DE7E-4765-A9A0-B3F73C84A708}" type="datetime1">
              <a:rPr lang="en-US" smtClean="0">
                <a:solidFill>
                  <a:srgbClr val="000000"/>
                </a:solidFill>
              </a:rPr>
              <a:pPr/>
              <a:t>9/7/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7" name="TextBox 6"/>
          <p:cNvSpPr txBox="1">
            <a:spLocks noChangeArrowheads="1"/>
          </p:cNvSpPr>
          <p:nvPr/>
        </p:nvSpPr>
        <p:spPr bwMode="auto">
          <a:xfrm>
            <a:off x="3265489" y="6283325"/>
            <a:ext cx="2613025" cy="200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>
              <a:defRPr/>
            </a:pPr>
            <a:r>
              <a:rPr lang="en-US" sz="700" dirty="0" smtClean="0"/>
              <a:t>For </a:t>
            </a:r>
            <a:r>
              <a:rPr lang="en-US" sz="600" dirty="0" smtClean="0">
                <a:solidFill>
                  <a:srgbClr val="000000"/>
                </a:solidFill>
              </a:rPr>
              <a:t>Discussion &amp; Policy Purposes Only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462686" y="829056"/>
            <a:ext cx="7751547" cy="466344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12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2" name="Text Placeholder 12"/>
          <p:cNvSpPr>
            <a:spLocks noGrp="1"/>
          </p:cNvSpPr>
          <p:nvPr>
            <p:ph type="body" sz="quarter" idx="19"/>
          </p:nvPr>
        </p:nvSpPr>
        <p:spPr>
          <a:xfrm>
            <a:off x="462684" y="381000"/>
            <a:ext cx="7309716" cy="22860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825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07706601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dt="0"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B85839-DE7E-4765-A9A0-B3F73C84A708}" type="datetime1">
              <a:rPr lang="en-US" smtClean="0">
                <a:solidFill>
                  <a:srgbClr val="000000"/>
                </a:solidFill>
              </a:rPr>
              <a:pPr/>
              <a:t>9/7/2018</a:t>
            </a:fld>
            <a:endParaRPr lang="en-US" dirty="0">
              <a:solidFill>
                <a:srgbClr val="000000"/>
              </a:solidFill>
            </a:endParaRPr>
          </a:p>
        </p:txBody>
      </p:sp>
      <p:pic>
        <p:nvPicPr>
          <p:cNvPr id="7" name="Picture 6" descr="newMekkoChart.emf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524192" y="1243330"/>
            <a:ext cx="4284821" cy="5488940"/>
          </a:xfrm>
          <a:prstGeom prst="rect">
            <a:avLst/>
          </a:prstGeom>
        </p:spPr>
      </p:pic>
      <p:pic>
        <p:nvPicPr>
          <p:cNvPr id="11" name="Picture 10" descr="newMekkoChart.emf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5060473" y="1243330"/>
            <a:ext cx="4284821" cy="5488940"/>
          </a:xfrm>
          <a:prstGeom prst="rect">
            <a:avLst/>
          </a:prstGeom>
        </p:spPr>
      </p:pic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462686" y="829056"/>
            <a:ext cx="7751547" cy="466344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12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4" y="381000"/>
            <a:ext cx="7309716" cy="22860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825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7993660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ine 7"/>
          <p:cNvSpPr>
            <a:spLocks noChangeShapeType="1"/>
          </p:cNvSpPr>
          <p:nvPr/>
        </p:nvSpPr>
        <p:spPr bwMode="auto">
          <a:xfrm>
            <a:off x="0" y="747713"/>
            <a:ext cx="9144000" cy="0"/>
          </a:xfrm>
          <a:prstGeom prst="line">
            <a:avLst/>
          </a:prstGeom>
          <a:noFill/>
          <a:ln w="9525">
            <a:solidFill>
              <a:srgbClr val="FFFFFF"/>
            </a:solidFill>
            <a:round/>
            <a:headEnd/>
            <a:tailEnd/>
          </a:ln>
        </p:spPr>
        <p:txBody>
          <a:bodyPr/>
          <a:lstStyle/>
          <a:p>
            <a:endParaRPr lang="en-US" sz="1350" dirty="0">
              <a:solidFill>
                <a:srgbClr val="000000"/>
              </a:solidFill>
            </a:endParaRPr>
          </a:p>
        </p:txBody>
      </p:sp>
      <p:sp>
        <p:nvSpPr>
          <p:cNvPr id="3" name="Line 11"/>
          <p:cNvSpPr>
            <a:spLocks noChangeShapeType="1"/>
          </p:cNvSpPr>
          <p:nvPr/>
        </p:nvSpPr>
        <p:spPr bwMode="auto">
          <a:xfrm>
            <a:off x="2443164" y="3567650"/>
            <a:ext cx="5722937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endParaRPr lang="en-US" sz="1350" dirty="0">
              <a:solidFill>
                <a:srgbClr val="000000"/>
              </a:solidFill>
            </a:endParaRPr>
          </a:p>
        </p:txBody>
      </p:sp>
      <p:pic>
        <p:nvPicPr>
          <p:cNvPr id="5" name="Picture 2" descr="C:\Users\dmlee\Downloads\preview-MABayTransAuthority.png"/>
          <p:cNvPicPr>
            <a:picLocks noChangeAspect="1" noChangeArrowheads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12826" y="1562100"/>
            <a:ext cx="6386513" cy="1447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685801" y="3962400"/>
            <a:ext cx="7751547" cy="466344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2400" b="1" baseline="0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 smtClean="0"/>
              <a:t>Insert title here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 hasCustomPrompt="1"/>
          </p:nvPr>
        </p:nvSpPr>
        <p:spPr>
          <a:xfrm>
            <a:off x="1219200" y="5105400"/>
            <a:ext cx="3352800" cy="762000"/>
          </a:xfrm>
          <a:prstGeom prst="rect">
            <a:avLst/>
          </a:prstGeom>
        </p:spPr>
        <p:txBody>
          <a:bodyPr/>
          <a:lstStyle>
            <a:lvl1pPr>
              <a:buNone/>
              <a:defRPr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 smtClean="0"/>
              <a:t>Insert date here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1219200" y="4593770"/>
            <a:ext cx="5867400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57175" indent="-257175"/>
            <a:endParaRPr lang="en-US" sz="1350" b="1" u="sng" dirty="0">
              <a:solidFill>
                <a:srgbClr val="000000"/>
              </a:solidFill>
            </a:endParaRP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1" hasCustomPrompt="1"/>
          </p:nvPr>
        </p:nvSpPr>
        <p:spPr>
          <a:xfrm>
            <a:off x="1219200" y="4528458"/>
            <a:ext cx="4572000" cy="45720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800" b="1" baseline="0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dirty="0" smtClean="0"/>
              <a:t>Insert subtitle here</a:t>
            </a:r>
          </a:p>
        </p:txBody>
      </p:sp>
    </p:spTree>
    <p:extLst>
      <p:ext uri="{BB962C8B-B14F-4D97-AF65-F5344CB8AC3E}">
        <p14:creationId xmlns:p14="http://schemas.microsoft.com/office/powerpoint/2010/main" val="1304148367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dt="0"/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396876" y="1463675"/>
            <a:ext cx="8434388" cy="1524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350" dirty="0">
              <a:solidFill>
                <a:srgbClr val="FFFFFF"/>
              </a:solidFill>
            </a:endParaRPr>
          </a:p>
        </p:txBody>
      </p:sp>
      <p:sp>
        <p:nvSpPr>
          <p:cNvPr id="3" name="Rectangle 10"/>
          <p:cNvSpPr/>
          <p:nvPr/>
        </p:nvSpPr>
        <p:spPr>
          <a:xfrm>
            <a:off x="327026" y="625475"/>
            <a:ext cx="7673975" cy="2349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350" dirty="0">
              <a:solidFill>
                <a:srgbClr val="FFFFFF"/>
              </a:solidFill>
            </a:endParaRPr>
          </a:p>
        </p:txBody>
      </p:sp>
      <p:sp>
        <p:nvSpPr>
          <p:cNvPr id="4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algn="r">
              <a:defRPr sz="600"/>
            </a:lvl1pPr>
          </a:lstStyle>
          <a:p>
            <a:fld id="{F809FA0C-9138-4409-9FF5-7DACD331B09B}" type="datetime1">
              <a:rPr lang="en-US" smtClean="0">
                <a:solidFill>
                  <a:srgbClr val="000000"/>
                </a:solidFill>
              </a:rPr>
              <a:pPr/>
              <a:t>9/7/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TextBox 6"/>
          <p:cNvSpPr txBox="1">
            <a:spLocks noChangeArrowheads="1"/>
          </p:cNvSpPr>
          <p:nvPr/>
        </p:nvSpPr>
        <p:spPr bwMode="auto">
          <a:xfrm>
            <a:off x="3265489" y="6283325"/>
            <a:ext cx="2613025" cy="200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>
              <a:defRPr/>
            </a:pPr>
            <a:r>
              <a:rPr lang="en-US" sz="700" dirty="0" smtClean="0"/>
              <a:t>For </a:t>
            </a:r>
            <a:r>
              <a:rPr lang="en-US" sz="600" dirty="0" smtClean="0">
                <a:solidFill>
                  <a:srgbClr val="000000"/>
                </a:solidFill>
              </a:rPr>
              <a:t>Discussion &amp; Policy Purposes Only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86" y="829056"/>
            <a:ext cx="7751547" cy="466344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12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4" y="381000"/>
            <a:ext cx="7309716" cy="22860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825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cxnSp>
        <p:nvCxnSpPr>
          <p:cNvPr id="9" name="Straight Connector 8"/>
          <p:cNvCxnSpPr/>
          <p:nvPr/>
        </p:nvCxnSpPr>
        <p:spPr>
          <a:xfrm>
            <a:off x="447675" y="720725"/>
            <a:ext cx="7499350" cy="0"/>
          </a:xfrm>
          <a:prstGeom prst="line">
            <a:avLst/>
          </a:prstGeom>
          <a:ln w="12700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9588805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470001" y="1698958"/>
            <a:ext cx="8348472" cy="443849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750"/>
              </a:spcBef>
              <a:buClr>
                <a:schemeClr val="tx1"/>
              </a:buClr>
              <a:buFont typeface="Arial" pitchFamily="34" charset="0"/>
              <a:buNone/>
              <a:defRPr sz="9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300038" indent="-133350">
              <a:spcBef>
                <a:spcPts val="450"/>
              </a:spcBef>
              <a:buClr>
                <a:schemeClr val="tx1"/>
              </a:buClr>
              <a:buFont typeface="Arial" pitchFamily="34" charset="0"/>
              <a:buChar char="•"/>
              <a:defRPr sz="9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428625" indent="-128588">
              <a:spcBef>
                <a:spcPts val="450"/>
              </a:spcBef>
              <a:buClr>
                <a:schemeClr val="tx1"/>
              </a:buClr>
              <a:buFont typeface="Arial" pitchFamily="34" charset="0"/>
              <a:buChar char="›"/>
              <a:defRPr sz="9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557213" indent="-128588">
              <a:spcBef>
                <a:spcPts val="450"/>
              </a:spcBef>
              <a:buClr>
                <a:schemeClr val="tx1"/>
              </a:buClr>
              <a:buFont typeface="Arial" pitchFamily="34" charset="0"/>
              <a:buChar char="»"/>
              <a:defRPr sz="9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557213" indent="0">
              <a:spcBef>
                <a:spcPts val="450"/>
              </a:spcBef>
              <a:buClr>
                <a:schemeClr val="tx1"/>
              </a:buClr>
              <a:buFont typeface="Arial" pitchFamily="34" charset="0"/>
              <a:buNone/>
              <a:defRPr sz="9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4" name="Date Placeholder 1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/>
            </a:lvl1pPr>
          </a:lstStyle>
          <a:p>
            <a:fld id="{20FA1DF3-6E5F-4A59-9A2C-E3FEDDFEF6C6}" type="datetime1">
              <a:rPr lang="en-US" smtClean="0">
                <a:solidFill>
                  <a:srgbClr val="000000"/>
                </a:solidFill>
              </a:rPr>
              <a:pPr/>
              <a:t>9/7/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TextBox 6"/>
          <p:cNvSpPr txBox="1">
            <a:spLocks noChangeArrowheads="1"/>
          </p:cNvSpPr>
          <p:nvPr/>
        </p:nvSpPr>
        <p:spPr bwMode="auto">
          <a:xfrm>
            <a:off x="3265489" y="6283325"/>
            <a:ext cx="2613025" cy="200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>
              <a:defRPr/>
            </a:pPr>
            <a:r>
              <a:rPr lang="en-US" sz="700" dirty="0" smtClean="0"/>
              <a:t>For </a:t>
            </a:r>
            <a:r>
              <a:rPr lang="en-US" sz="600" dirty="0" smtClean="0">
                <a:solidFill>
                  <a:srgbClr val="000000"/>
                </a:solidFill>
              </a:rPr>
              <a:t>Discussion &amp; Policy Purposes Only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86" y="829056"/>
            <a:ext cx="7751547" cy="466344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12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4" y="381000"/>
            <a:ext cx="7309716" cy="22860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825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71740137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ide by 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8"/>
          <p:cNvSpPr>
            <a:spLocks noGrp="1"/>
          </p:cNvSpPr>
          <p:nvPr>
            <p:ph sz="quarter" idx="16"/>
          </p:nvPr>
        </p:nvSpPr>
        <p:spPr>
          <a:xfrm>
            <a:off x="470001" y="1698958"/>
            <a:ext cx="3957219" cy="443849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400050" indent="-17780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7150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74295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74295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10" name="Content Placeholder 8"/>
          <p:cNvSpPr>
            <a:spLocks noGrp="1"/>
          </p:cNvSpPr>
          <p:nvPr>
            <p:ph sz="quarter" idx="17"/>
          </p:nvPr>
        </p:nvSpPr>
        <p:spPr>
          <a:xfrm>
            <a:off x="4600041" y="1695148"/>
            <a:ext cx="3957219" cy="443849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400050" indent="-17780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7150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74295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74295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6" name="Date Placeholder 1"/>
          <p:cNvSpPr>
            <a:spLocks noGrp="1"/>
          </p:cNvSpPr>
          <p:nvPr>
            <p:ph type="dt" sz="half" idx="18"/>
          </p:nvPr>
        </p:nvSpPr>
        <p:spPr/>
        <p:txBody>
          <a:bodyPr/>
          <a:lstStyle>
            <a:lvl1pPr>
              <a:defRPr/>
            </a:lvl1pPr>
          </a:lstStyle>
          <a:p>
            <a:fld id="{1AB85839-DE7E-4765-A9A0-B3F73C84A708}" type="datetime1">
              <a:rPr lang="en-US" smtClean="0"/>
              <a:pPr/>
              <a:t>9/7/2018</a:t>
            </a:fld>
            <a:endParaRPr lang="en-US" dirty="0"/>
          </a:p>
        </p:txBody>
      </p:sp>
      <p:sp>
        <p:nvSpPr>
          <p:cNvPr id="7" name="TextBox 6"/>
          <p:cNvSpPr txBox="1">
            <a:spLocks noChangeArrowheads="1"/>
          </p:cNvSpPr>
          <p:nvPr/>
        </p:nvSpPr>
        <p:spPr bwMode="auto">
          <a:xfrm>
            <a:off x="3265488" y="6283325"/>
            <a:ext cx="2613025" cy="215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defRPr/>
            </a:pPr>
            <a:r>
              <a:rPr lang="en-US" sz="800" dirty="0" smtClean="0"/>
              <a:t>For Discussion &amp; Policy Purposes Only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462685" y="829056"/>
            <a:ext cx="7751547" cy="466344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2" name="Text Placeholder 12"/>
          <p:cNvSpPr>
            <a:spLocks noGrp="1"/>
          </p:cNvSpPr>
          <p:nvPr>
            <p:ph type="body" sz="quarter" idx="19"/>
          </p:nvPr>
        </p:nvSpPr>
        <p:spPr>
          <a:xfrm>
            <a:off x="462684" y="381000"/>
            <a:ext cx="7309716" cy="22860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  <p:hf hdr="0" dt="0"/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ide by 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8"/>
          <p:cNvSpPr>
            <a:spLocks noGrp="1"/>
          </p:cNvSpPr>
          <p:nvPr>
            <p:ph sz="quarter" idx="16"/>
          </p:nvPr>
        </p:nvSpPr>
        <p:spPr>
          <a:xfrm>
            <a:off x="470002" y="1698958"/>
            <a:ext cx="3957219" cy="443849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750"/>
              </a:spcBef>
              <a:buClr>
                <a:schemeClr val="tx1"/>
              </a:buClr>
              <a:buFont typeface="Arial" pitchFamily="34" charset="0"/>
              <a:buNone/>
              <a:defRPr sz="9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300038" indent="-133350">
              <a:spcBef>
                <a:spcPts val="450"/>
              </a:spcBef>
              <a:buClr>
                <a:schemeClr val="tx1"/>
              </a:buClr>
              <a:buFont typeface="Arial" pitchFamily="34" charset="0"/>
              <a:buChar char="•"/>
              <a:defRPr sz="9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428625" indent="-128588">
              <a:spcBef>
                <a:spcPts val="450"/>
              </a:spcBef>
              <a:buClr>
                <a:schemeClr val="tx1"/>
              </a:buClr>
              <a:buFont typeface="Arial" pitchFamily="34" charset="0"/>
              <a:buChar char="›"/>
              <a:defRPr sz="9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557213" indent="-128588">
              <a:spcBef>
                <a:spcPts val="450"/>
              </a:spcBef>
              <a:buClr>
                <a:schemeClr val="tx1"/>
              </a:buClr>
              <a:buFont typeface="Arial" pitchFamily="34" charset="0"/>
              <a:buChar char="»"/>
              <a:defRPr sz="9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557213" indent="0">
              <a:spcBef>
                <a:spcPts val="450"/>
              </a:spcBef>
              <a:buClr>
                <a:schemeClr val="tx1"/>
              </a:buClr>
              <a:buFont typeface="Arial" pitchFamily="34" charset="0"/>
              <a:buNone/>
              <a:defRPr sz="9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10" name="Content Placeholder 8"/>
          <p:cNvSpPr>
            <a:spLocks noGrp="1"/>
          </p:cNvSpPr>
          <p:nvPr>
            <p:ph sz="quarter" idx="17"/>
          </p:nvPr>
        </p:nvSpPr>
        <p:spPr>
          <a:xfrm>
            <a:off x="4600042" y="1695148"/>
            <a:ext cx="3957219" cy="443849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750"/>
              </a:spcBef>
              <a:buClr>
                <a:schemeClr val="tx1"/>
              </a:buClr>
              <a:buFont typeface="Arial" pitchFamily="34" charset="0"/>
              <a:buNone/>
              <a:defRPr sz="9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300038" indent="-133350">
              <a:spcBef>
                <a:spcPts val="450"/>
              </a:spcBef>
              <a:buClr>
                <a:schemeClr val="tx1"/>
              </a:buClr>
              <a:buFont typeface="Arial" pitchFamily="34" charset="0"/>
              <a:buChar char="•"/>
              <a:defRPr sz="9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428625" indent="-128588">
              <a:spcBef>
                <a:spcPts val="450"/>
              </a:spcBef>
              <a:buClr>
                <a:schemeClr val="tx1"/>
              </a:buClr>
              <a:buFont typeface="Arial" pitchFamily="34" charset="0"/>
              <a:buChar char="›"/>
              <a:defRPr sz="9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557213" indent="-128588">
              <a:spcBef>
                <a:spcPts val="450"/>
              </a:spcBef>
              <a:buClr>
                <a:schemeClr val="tx1"/>
              </a:buClr>
              <a:buFont typeface="Arial" pitchFamily="34" charset="0"/>
              <a:buChar char="»"/>
              <a:defRPr sz="9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557213" indent="0">
              <a:spcBef>
                <a:spcPts val="450"/>
              </a:spcBef>
              <a:buClr>
                <a:schemeClr val="tx1"/>
              </a:buClr>
              <a:buFont typeface="Arial" pitchFamily="34" charset="0"/>
              <a:buNone/>
              <a:defRPr sz="9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6" name="Date Placeholder 1"/>
          <p:cNvSpPr>
            <a:spLocks noGrp="1"/>
          </p:cNvSpPr>
          <p:nvPr>
            <p:ph type="dt" sz="half" idx="18"/>
          </p:nvPr>
        </p:nvSpPr>
        <p:spPr/>
        <p:txBody>
          <a:bodyPr/>
          <a:lstStyle>
            <a:lvl1pPr>
              <a:defRPr/>
            </a:lvl1pPr>
          </a:lstStyle>
          <a:p>
            <a:fld id="{1AB85839-DE7E-4765-A9A0-B3F73C84A708}" type="datetime1">
              <a:rPr lang="en-US" smtClean="0">
                <a:solidFill>
                  <a:srgbClr val="000000"/>
                </a:solidFill>
              </a:rPr>
              <a:pPr/>
              <a:t>9/7/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7" name="TextBox 6"/>
          <p:cNvSpPr txBox="1">
            <a:spLocks noChangeArrowheads="1"/>
          </p:cNvSpPr>
          <p:nvPr/>
        </p:nvSpPr>
        <p:spPr bwMode="auto">
          <a:xfrm>
            <a:off x="3265489" y="6283325"/>
            <a:ext cx="2613025" cy="200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>
              <a:defRPr/>
            </a:pPr>
            <a:r>
              <a:rPr lang="en-US" sz="700" dirty="0" smtClean="0"/>
              <a:t>For </a:t>
            </a:r>
            <a:r>
              <a:rPr lang="en-US" sz="600" dirty="0" smtClean="0">
                <a:solidFill>
                  <a:srgbClr val="000000"/>
                </a:solidFill>
              </a:rPr>
              <a:t>Discussion &amp; Policy Purposes Only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462686" y="829056"/>
            <a:ext cx="7751547" cy="466344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12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2" name="Text Placeholder 12"/>
          <p:cNvSpPr>
            <a:spLocks noGrp="1"/>
          </p:cNvSpPr>
          <p:nvPr>
            <p:ph type="body" sz="quarter" idx="19"/>
          </p:nvPr>
        </p:nvSpPr>
        <p:spPr>
          <a:xfrm>
            <a:off x="462684" y="381000"/>
            <a:ext cx="7309716" cy="22860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825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96157244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dt="0"/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B85839-DE7E-4765-A9A0-B3F73C84A708}" type="datetime1">
              <a:rPr lang="en-US" smtClean="0">
                <a:solidFill>
                  <a:srgbClr val="000000"/>
                </a:solidFill>
              </a:rPr>
              <a:pPr/>
              <a:t>9/7/2018</a:t>
            </a:fld>
            <a:endParaRPr lang="en-US" dirty="0">
              <a:solidFill>
                <a:srgbClr val="000000"/>
              </a:solidFill>
            </a:endParaRPr>
          </a:p>
        </p:txBody>
      </p:sp>
      <p:pic>
        <p:nvPicPr>
          <p:cNvPr id="7" name="Picture 6" descr="newMekkoChart.emf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524192" y="1243330"/>
            <a:ext cx="4284821" cy="5488940"/>
          </a:xfrm>
          <a:prstGeom prst="rect">
            <a:avLst/>
          </a:prstGeom>
        </p:spPr>
      </p:pic>
      <p:pic>
        <p:nvPicPr>
          <p:cNvPr id="11" name="Picture 10" descr="newMekkoChart.emf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5060473" y="1243330"/>
            <a:ext cx="4284821" cy="5488940"/>
          </a:xfrm>
          <a:prstGeom prst="rect">
            <a:avLst/>
          </a:prstGeom>
        </p:spPr>
      </p:pic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462686" y="829056"/>
            <a:ext cx="7751547" cy="466344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12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4" y="381000"/>
            <a:ext cx="7309716" cy="22860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825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2494457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ine 7"/>
          <p:cNvSpPr>
            <a:spLocks noChangeShapeType="1"/>
          </p:cNvSpPr>
          <p:nvPr/>
        </p:nvSpPr>
        <p:spPr bwMode="auto">
          <a:xfrm>
            <a:off x="0" y="747713"/>
            <a:ext cx="9144000" cy="0"/>
          </a:xfrm>
          <a:prstGeom prst="line">
            <a:avLst/>
          </a:prstGeom>
          <a:noFill/>
          <a:ln w="9525">
            <a:solidFill>
              <a:srgbClr val="FFFFFF"/>
            </a:solidFill>
            <a:round/>
            <a:headEnd/>
            <a:tailEnd/>
          </a:ln>
        </p:spPr>
        <p:txBody>
          <a:bodyPr/>
          <a:lstStyle/>
          <a:p>
            <a:endParaRPr lang="en-US" sz="1350" dirty="0">
              <a:solidFill>
                <a:srgbClr val="000000"/>
              </a:solidFill>
            </a:endParaRPr>
          </a:p>
        </p:txBody>
      </p:sp>
      <p:sp>
        <p:nvSpPr>
          <p:cNvPr id="3" name="Line 11"/>
          <p:cNvSpPr>
            <a:spLocks noChangeShapeType="1"/>
          </p:cNvSpPr>
          <p:nvPr/>
        </p:nvSpPr>
        <p:spPr bwMode="auto">
          <a:xfrm>
            <a:off x="2443164" y="3567650"/>
            <a:ext cx="5722937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endParaRPr lang="en-US" sz="1350" dirty="0">
              <a:solidFill>
                <a:srgbClr val="000000"/>
              </a:solidFill>
            </a:endParaRPr>
          </a:p>
        </p:txBody>
      </p:sp>
      <p:pic>
        <p:nvPicPr>
          <p:cNvPr id="5" name="Picture 2" descr="C:\Users\dmlee\Downloads\preview-MABayTransAuthority.png"/>
          <p:cNvPicPr>
            <a:picLocks noChangeAspect="1" noChangeArrowheads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12826" y="1562100"/>
            <a:ext cx="6386513" cy="1447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685801" y="3962400"/>
            <a:ext cx="7751547" cy="466344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2400" b="1" baseline="0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 smtClean="0"/>
              <a:t>Insert title here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 hasCustomPrompt="1"/>
          </p:nvPr>
        </p:nvSpPr>
        <p:spPr>
          <a:xfrm>
            <a:off x="1219200" y="5105400"/>
            <a:ext cx="3352800" cy="762000"/>
          </a:xfrm>
          <a:prstGeom prst="rect">
            <a:avLst/>
          </a:prstGeom>
        </p:spPr>
        <p:txBody>
          <a:bodyPr/>
          <a:lstStyle>
            <a:lvl1pPr>
              <a:buNone/>
              <a:defRPr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 smtClean="0"/>
              <a:t>Insert date here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1219200" y="4593770"/>
            <a:ext cx="5867400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57175" indent="-257175"/>
            <a:endParaRPr lang="en-US" sz="1350" b="1" u="sng" dirty="0">
              <a:solidFill>
                <a:srgbClr val="000000"/>
              </a:solidFill>
            </a:endParaRP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1" hasCustomPrompt="1"/>
          </p:nvPr>
        </p:nvSpPr>
        <p:spPr>
          <a:xfrm>
            <a:off x="1219200" y="4528458"/>
            <a:ext cx="4572000" cy="45720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800" b="1" baseline="0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dirty="0" smtClean="0"/>
              <a:t>Insert subtitle here</a:t>
            </a:r>
          </a:p>
        </p:txBody>
      </p:sp>
    </p:spTree>
    <p:extLst>
      <p:ext uri="{BB962C8B-B14F-4D97-AF65-F5344CB8AC3E}">
        <p14:creationId xmlns:p14="http://schemas.microsoft.com/office/powerpoint/2010/main" val="819110559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dt="0"/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396875" y="1463675"/>
            <a:ext cx="8434388" cy="1524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3" name="Rectangle 10"/>
          <p:cNvSpPr/>
          <p:nvPr/>
        </p:nvSpPr>
        <p:spPr>
          <a:xfrm>
            <a:off x="327025" y="625475"/>
            <a:ext cx="7673975" cy="2349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4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algn="r">
              <a:defRPr sz="800"/>
            </a:lvl1pPr>
          </a:lstStyle>
          <a:p>
            <a:fld id="{F809FA0C-9138-4409-9FF5-7DACD331B09B}" type="datetime1">
              <a:rPr lang="en-US" smtClean="0">
                <a:solidFill>
                  <a:srgbClr val="000000"/>
                </a:solidFill>
              </a:rPr>
              <a:pPr/>
              <a:t>9/7/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TextBox 6"/>
          <p:cNvSpPr txBox="1">
            <a:spLocks noChangeArrowheads="1"/>
          </p:cNvSpPr>
          <p:nvPr/>
        </p:nvSpPr>
        <p:spPr bwMode="auto">
          <a:xfrm>
            <a:off x="3265488" y="6283325"/>
            <a:ext cx="2613025" cy="215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>
              <a:defRPr/>
            </a:pPr>
            <a:r>
              <a:rPr lang="en-US" sz="800" dirty="0" smtClean="0"/>
              <a:t>For </a:t>
            </a:r>
            <a:r>
              <a:rPr lang="en-US" sz="800" dirty="0" smtClean="0">
                <a:solidFill>
                  <a:srgbClr val="000000"/>
                </a:solidFill>
              </a:rPr>
              <a:t>Discussion &amp; Policy Purposes Only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85" y="829056"/>
            <a:ext cx="7751547" cy="466344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4" y="381000"/>
            <a:ext cx="7309716" cy="22860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cxnSp>
        <p:nvCxnSpPr>
          <p:cNvPr id="9" name="Straight Connector 8"/>
          <p:cNvCxnSpPr/>
          <p:nvPr/>
        </p:nvCxnSpPr>
        <p:spPr>
          <a:xfrm>
            <a:off x="447675" y="720725"/>
            <a:ext cx="7499350" cy="0"/>
          </a:xfrm>
          <a:prstGeom prst="line">
            <a:avLst/>
          </a:prstGeom>
          <a:ln w="12700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2670489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470001" y="1698958"/>
            <a:ext cx="8348472" cy="443849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400050" indent="-17780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7150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74295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74295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4" name="Date Placeholder 1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/>
            </a:lvl1pPr>
          </a:lstStyle>
          <a:p>
            <a:fld id="{20FA1DF3-6E5F-4A59-9A2C-E3FEDDFEF6C6}" type="datetime1">
              <a:rPr lang="en-US" smtClean="0">
                <a:solidFill>
                  <a:srgbClr val="000000"/>
                </a:solidFill>
              </a:rPr>
              <a:pPr/>
              <a:t>9/7/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TextBox 6"/>
          <p:cNvSpPr txBox="1">
            <a:spLocks noChangeArrowheads="1"/>
          </p:cNvSpPr>
          <p:nvPr/>
        </p:nvSpPr>
        <p:spPr bwMode="auto">
          <a:xfrm>
            <a:off x="3265488" y="6283325"/>
            <a:ext cx="2613025" cy="215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>
              <a:defRPr/>
            </a:pPr>
            <a:r>
              <a:rPr lang="en-US" sz="800" dirty="0" smtClean="0"/>
              <a:t>For </a:t>
            </a:r>
            <a:r>
              <a:rPr lang="en-US" sz="800" dirty="0" smtClean="0">
                <a:solidFill>
                  <a:srgbClr val="000000"/>
                </a:solidFill>
              </a:rPr>
              <a:t>Discussion &amp; Policy Purposes Only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85" y="829056"/>
            <a:ext cx="7751547" cy="466344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4" y="381000"/>
            <a:ext cx="7309716" cy="22860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03526109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ide by 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8"/>
          <p:cNvSpPr>
            <a:spLocks noGrp="1"/>
          </p:cNvSpPr>
          <p:nvPr>
            <p:ph sz="quarter" idx="16"/>
          </p:nvPr>
        </p:nvSpPr>
        <p:spPr>
          <a:xfrm>
            <a:off x="470001" y="1698958"/>
            <a:ext cx="3957219" cy="443849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400050" indent="-17780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7150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74295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74295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10" name="Content Placeholder 8"/>
          <p:cNvSpPr>
            <a:spLocks noGrp="1"/>
          </p:cNvSpPr>
          <p:nvPr>
            <p:ph sz="quarter" idx="17"/>
          </p:nvPr>
        </p:nvSpPr>
        <p:spPr>
          <a:xfrm>
            <a:off x="4600041" y="1695148"/>
            <a:ext cx="3957219" cy="443849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400050" indent="-17780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7150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74295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74295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6" name="Date Placeholder 1"/>
          <p:cNvSpPr>
            <a:spLocks noGrp="1"/>
          </p:cNvSpPr>
          <p:nvPr>
            <p:ph type="dt" sz="half" idx="18"/>
          </p:nvPr>
        </p:nvSpPr>
        <p:spPr/>
        <p:txBody>
          <a:bodyPr/>
          <a:lstStyle>
            <a:lvl1pPr>
              <a:defRPr/>
            </a:lvl1pPr>
          </a:lstStyle>
          <a:p>
            <a:fld id="{1AB85839-DE7E-4765-A9A0-B3F73C84A708}" type="datetime1">
              <a:rPr lang="en-US" smtClean="0">
                <a:solidFill>
                  <a:srgbClr val="000000"/>
                </a:solidFill>
              </a:rPr>
              <a:pPr/>
              <a:t>9/7/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7" name="TextBox 6"/>
          <p:cNvSpPr txBox="1">
            <a:spLocks noChangeArrowheads="1"/>
          </p:cNvSpPr>
          <p:nvPr/>
        </p:nvSpPr>
        <p:spPr bwMode="auto">
          <a:xfrm>
            <a:off x="3265488" y="6283325"/>
            <a:ext cx="2613025" cy="215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>
              <a:defRPr/>
            </a:pPr>
            <a:r>
              <a:rPr lang="en-US" sz="800" dirty="0" smtClean="0"/>
              <a:t>For </a:t>
            </a:r>
            <a:r>
              <a:rPr lang="en-US" sz="800" dirty="0" smtClean="0">
                <a:solidFill>
                  <a:srgbClr val="000000"/>
                </a:solidFill>
              </a:rPr>
              <a:t>Discussion &amp; Policy Purposes Only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462685" y="829056"/>
            <a:ext cx="7751547" cy="466344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2" name="Text Placeholder 12"/>
          <p:cNvSpPr>
            <a:spLocks noGrp="1"/>
          </p:cNvSpPr>
          <p:nvPr>
            <p:ph type="body" sz="quarter" idx="19"/>
          </p:nvPr>
        </p:nvSpPr>
        <p:spPr>
          <a:xfrm>
            <a:off x="462684" y="381000"/>
            <a:ext cx="7309716" cy="22860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96539670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dt="0"/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B85839-DE7E-4765-A9A0-B3F73C84A708}" type="datetime1">
              <a:rPr lang="en-US" smtClean="0">
                <a:solidFill>
                  <a:srgbClr val="000000"/>
                </a:solidFill>
              </a:rPr>
              <a:pPr/>
              <a:t>9/7/2018</a:t>
            </a:fld>
            <a:endParaRPr lang="en-US" dirty="0">
              <a:solidFill>
                <a:srgbClr val="000000"/>
              </a:solidFill>
            </a:endParaRPr>
          </a:p>
        </p:txBody>
      </p:sp>
      <p:pic>
        <p:nvPicPr>
          <p:cNvPr id="7" name="Picture 6" descr="newMekkoChart.emf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524191" y="1243330"/>
            <a:ext cx="4284821" cy="5488940"/>
          </a:xfrm>
          <a:prstGeom prst="rect">
            <a:avLst/>
          </a:prstGeom>
        </p:spPr>
      </p:pic>
      <p:pic>
        <p:nvPicPr>
          <p:cNvPr id="11" name="Picture 10" descr="newMekkoChart.emf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5060472" y="1243330"/>
            <a:ext cx="4284821" cy="5488940"/>
          </a:xfrm>
          <a:prstGeom prst="rect">
            <a:avLst/>
          </a:prstGeom>
        </p:spPr>
      </p:pic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462685" y="829056"/>
            <a:ext cx="7751547" cy="466344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4" y="381000"/>
            <a:ext cx="7309716" cy="22860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70290959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ine 7"/>
          <p:cNvSpPr>
            <a:spLocks noChangeShapeType="1"/>
          </p:cNvSpPr>
          <p:nvPr/>
        </p:nvSpPr>
        <p:spPr bwMode="auto">
          <a:xfrm>
            <a:off x="0" y="747713"/>
            <a:ext cx="9144000" cy="0"/>
          </a:xfrm>
          <a:prstGeom prst="line">
            <a:avLst/>
          </a:prstGeom>
          <a:noFill/>
          <a:ln w="9525">
            <a:solidFill>
              <a:srgbClr val="FFFFFF"/>
            </a:solidFill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" name="Line 11"/>
          <p:cNvSpPr>
            <a:spLocks noChangeShapeType="1"/>
          </p:cNvSpPr>
          <p:nvPr/>
        </p:nvSpPr>
        <p:spPr bwMode="auto">
          <a:xfrm>
            <a:off x="2443163" y="3567650"/>
            <a:ext cx="5722937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srgbClr val="000000"/>
              </a:solidFill>
            </a:endParaRPr>
          </a:p>
        </p:txBody>
      </p:sp>
      <p:pic>
        <p:nvPicPr>
          <p:cNvPr id="5" name="Picture 2" descr="C:\Users\dmlee\Downloads\preview-MABayTransAuthority.png"/>
          <p:cNvPicPr>
            <a:picLocks noChangeAspect="1" noChangeArrowheads="1"/>
          </p:cNvPicPr>
          <p:nvPr/>
        </p:nvPicPr>
        <p:blipFill>
          <a:blip r:embed="rId2" cstate="print"/>
          <a:srcRect t="38333" b="39000"/>
          <a:stretch>
            <a:fillRect/>
          </a:stretch>
        </p:blipFill>
        <p:spPr bwMode="auto">
          <a:xfrm>
            <a:off x="1012825" y="1562100"/>
            <a:ext cx="6386513" cy="1447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685800" y="3962400"/>
            <a:ext cx="7751547" cy="466344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3200" b="1" baseline="0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 smtClean="0"/>
              <a:t>Insert title here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 hasCustomPrompt="1"/>
          </p:nvPr>
        </p:nvSpPr>
        <p:spPr>
          <a:xfrm>
            <a:off x="1219200" y="5105400"/>
            <a:ext cx="3352800" cy="762000"/>
          </a:xfrm>
          <a:prstGeom prst="rect">
            <a:avLst/>
          </a:prstGeom>
        </p:spPr>
        <p:txBody>
          <a:bodyPr/>
          <a:lstStyle>
            <a:lvl1pPr>
              <a:buNone/>
              <a:defRPr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 smtClean="0"/>
              <a:t>Insert date here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1219200" y="4593770"/>
            <a:ext cx="58674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/>
            <a:endParaRPr lang="en-US" b="1" u="sng" dirty="0" smtClean="0">
              <a:solidFill>
                <a:srgbClr val="000000"/>
              </a:solidFill>
            </a:endParaRP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1" hasCustomPrompt="1"/>
          </p:nvPr>
        </p:nvSpPr>
        <p:spPr>
          <a:xfrm>
            <a:off x="1219200" y="4528458"/>
            <a:ext cx="4572000" cy="45720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2400" b="1" baseline="0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dirty="0" smtClean="0"/>
              <a:t>Insert subtitle here</a:t>
            </a:r>
          </a:p>
        </p:txBody>
      </p:sp>
    </p:spTree>
    <p:extLst>
      <p:ext uri="{BB962C8B-B14F-4D97-AF65-F5344CB8AC3E}">
        <p14:creationId xmlns:p14="http://schemas.microsoft.com/office/powerpoint/2010/main" val="1340690988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B85839-DE7E-4765-A9A0-B3F73C84A708}" type="datetime1">
              <a:rPr lang="en-US" smtClean="0"/>
              <a:pPr/>
              <a:t>9/7/2018</a:t>
            </a:fld>
            <a:endParaRPr lang="en-US" dirty="0"/>
          </a:p>
        </p:txBody>
      </p:sp>
      <p:pic>
        <p:nvPicPr>
          <p:cNvPr id="7" name="Picture 6" descr="newMekkoChart.emf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524191" y="1243330"/>
            <a:ext cx="4284821" cy="5488940"/>
          </a:xfrm>
          <a:prstGeom prst="rect">
            <a:avLst/>
          </a:prstGeom>
        </p:spPr>
      </p:pic>
      <p:pic>
        <p:nvPicPr>
          <p:cNvPr id="11" name="Picture 10" descr="newMekkoChart.emf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5060472" y="1243330"/>
            <a:ext cx="4284821" cy="5488940"/>
          </a:xfrm>
          <a:prstGeom prst="rect">
            <a:avLst/>
          </a:prstGeom>
        </p:spPr>
      </p:pic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462685" y="829056"/>
            <a:ext cx="7751547" cy="466344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4" y="381000"/>
            <a:ext cx="7309716" cy="22860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ine 7"/>
          <p:cNvSpPr>
            <a:spLocks noChangeShapeType="1"/>
          </p:cNvSpPr>
          <p:nvPr/>
        </p:nvSpPr>
        <p:spPr bwMode="auto">
          <a:xfrm>
            <a:off x="0" y="747713"/>
            <a:ext cx="9144000" cy="0"/>
          </a:xfrm>
          <a:prstGeom prst="line">
            <a:avLst/>
          </a:prstGeom>
          <a:noFill/>
          <a:ln w="9525">
            <a:solidFill>
              <a:srgbClr val="FFFFFF"/>
            </a:solidFill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3" name="Line 11"/>
          <p:cNvSpPr>
            <a:spLocks noChangeShapeType="1"/>
          </p:cNvSpPr>
          <p:nvPr/>
        </p:nvSpPr>
        <p:spPr bwMode="auto">
          <a:xfrm>
            <a:off x="2443163" y="3567650"/>
            <a:ext cx="5722937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685800" y="3962400"/>
            <a:ext cx="7751547" cy="466344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3200" b="1" baseline="0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 smtClean="0"/>
              <a:t>Insert title here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 hasCustomPrompt="1"/>
          </p:nvPr>
        </p:nvSpPr>
        <p:spPr>
          <a:xfrm>
            <a:off x="1219200" y="5105400"/>
            <a:ext cx="3352800" cy="762000"/>
          </a:xfrm>
          <a:prstGeom prst="rect">
            <a:avLst/>
          </a:prstGeom>
        </p:spPr>
        <p:txBody>
          <a:bodyPr/>
          <a:lstStyle>
            <a:lvl1pPr>
              <a:buNone/>
              <a:defRPr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 smtClean="0"/>
              <a:t>Insert date here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1219200" y="4593770"/>
            <a:ext cx="58674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/>
            <a:endParaRPr lang="en-US" b="1" u="sng" dirty="0" smtClean="0">
              <a:latin typeface="+mj-lt"/>
            </a:endParaRP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1" hasCustomPrompt="1"/>
          </p:nvPr>
        </p:nvSpPr>
        <p:spPr>
          <a:xfrm>
            <a:off x="1219200" y="4528458"/>
            <a:ext cx="4572000" cy="45720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2400" b="1" baseline="0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dirty="0" smtClean="0"/>
              <a:t>Insert subtitle here</a:t>
            </a:r>
          </a:p>
        </p:txBody>
      </p:sp>
      <p:pic>
        <p:nvPicPr>
          <p:cNvPr id="11" name="Picture 2" descr="C:\Users\dmlee\Downloads\preview-MABayTransAuthority.png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12825" y="1562100"/>
            <a:ext cx="6386513" cy="1447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4160867102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dt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Graph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3"/>
          </p:nvPr>
        </p:nvSpPr>
        <p:spPr>
          <a:xfrm>
            <a:off x="481263" y="1965158"/>
            <a:ext cx="7423485" cy="3533943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4" hasCustomPrompt="1"/>
          </p:nvPr>
        </p:nvSpPr>
        <p:spPr>
          <a:xfrm>
            <a:off x="397042" y="888817"/>
            <a:ext cx="7507706" cy="537411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3000" b="1">
                <a:solidFill>
                  <a:srgbClr val="0070C0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defRPr>
            </a:lvl1pPr>
            <a:lvl2pPr marL="342900" indent="0">
              <a:buNone/>
              <a:defRPr sz="2700" b="1">
                <a:solidFill>
                  <a:srgbClr val="EF462A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defRPr>
            </a:lvl2pPr>
            <a:lvl3pPr marL="685800" indent="0">
              <a:buNone/>
              <a:defRPr sz="2700" b="1">
                <a:solidFill>
                  <a:srgbClr val="EF462A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defRPr>
            </a:lvl3pPr>
            <a:lvl4pPr marL="1028700" indent="0">
              <a:buNone/>
              <a:defRPr sz="2700" b="1">
                <a:solidFill>
                  <a:srgbClr val="EF462A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defRPr>
            </a:lvl4pPr>
            <a:lvl5pPr marL="1371600" indent="0">
              <a:buNone/>
              <a:defRPr sz="2700" b="1">
                <a:solidFill>
                  <a:srgbClr val="EF462A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defRPr>
            </a:lvl5pPr>
          </a:lstStyle>
          <a:p>
            <a:pPr lvl="0"/>
            <a:r>
              <a:rPr lang="en-US" dirty="0"/>
              <a:t>Slide title</a:t>
            </a:r>
          </a:p>
        </p:txBody>
      </p:sp>
    </p:spTree>
    <p:extLst>
      <p:ext uri="{BB962C8B-B14F-4D97-AF65-F5344CB8AC3E}">
        <p14:creationId xmlns:p14="http://schemas.microsoft.com/office/powerpoint/2010/main" val="7374924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396875" y="1463675"/>
            <a:ext cx="8434388" cy="1524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3" name="Rectangle 10"/>
          <p:cNvSpPr/>
          <p:nvPr/>
        </p:nvSpPr>
        <p:spPr>
          <a:xfrm>
            <a:off x="327025" y="625475"/>
            <a:ext cx="7673975" cy="2349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4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algn="r">
              <a:defRPr sz="800"/>
            </a:lvl1pPr>
          </a:lstStyle>
          <a:p>
            <a:fld id="{F809FA0C-9138-4409-9FF5-7DACD331B09B}" type="datetime1">
              <a:rPr lang="en-US" smtClean="0">
                <a:solidFill>
                  <a:srgbClr val="000000"/>
                </a:solidFill>
              </a:rPr>
              <a:pPr/>
              <a:t>9/7/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TextBox 6"/>
          <p:cNvSpPr txBox="1">
            <a:spLocks noChangeArrowheads="1"/>
          </p:cNvSpPr>
          <p:nvPr userDrawn="1"/>
        </p:nvSpPr>
        <p:spPr bwMode="auto">
          <a:xfrm>
            <a:off x="3265488" y="6283325"/>
            <a:ext cx="2613025" cy="215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>
              <a:defRPr/>
            </a:pPr>
            <a:r>
              <a:rPr lang="en-US" sz="800" dirty="0" smtClean="0"/>
              <a:t>For </a:t>
            </a:r>
            <a:r>
              <a:rPr lang="en-US" sz="800" dirty="0" smtClean="0">
                <a:solidFill>
                  <a:srgbClr val="000000"/>
                </a:solidFill>
              </a:rPr>
              <a:t>Discussion &amp; Policy Purposes Only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85" y="829056"/>
            <a:ext cx="7751547" cy="466344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4" y="381000"/>
            <a:ext cx="7309716" cy="22860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447675" y="720725"/>
            <a:ext cx="7499350" cy="0"/>
          </a:xfrm>
          <a:prstGeom prst="line">
            <a:avLst/>
          </a:prstGeom>
          <a:ln w="12700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0227518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470001" y="1698958"/>
            <a:ext cx="8348472" cy="443849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400050" indent="-17780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7150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74295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74295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4" name="Date Placeholder 1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/>
            </a:lvl1pPr>
          </a:lstStyle>
          <a:p>
            <a:fld id="{20FA1DF3-6E5F-4A59-9A2C-E3FEDDFEF6C6}" type="datetime1">
              <a:rPr lang="en-US" smtClean="0">
                <a:solidFill>
                  <a:srgbClr val="000000"/>
                </a:solidFill>
              </a:rPr>
              <a:pPr/>
              <a:t>9/7/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TextBox 6"/>
          <p:cNvSpPr txBox="1">
            <a:spLocks noChangeArrowheads="1"/>
          </p:cNvSpPr>
          <p:nvPr userDrawn="1"/>
        </p:nvSpPr>
        <p:spPr bwMode="auto">
          <a:xfrm>
            <a:off x="3265488" y="6283325"/>
            <a:ext cx="2613025" cy="215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>
              <a:defRPr/>
            </a:pPr>
            <a:r>
              <a:rPr lang="en-US" sz="800" dirty="0" smtClean="0"/>
              <a:t>For </a:t>
            </a:r>
            <a:r>
              <a:rPr lang="en-US" sz="800" dirty="0" smtClean="0">
                <a:solidFill>
                  <a:srgbClr val="000000"/>
                </a:solidFill>
              </a:rPr>
              <a:t>Discussion &amp; Policy Purposes Only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85" y="829056"/>
            <a:ext cx="7751547" cy="466344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4" y="381000"/>
            <a:ext cx="7309716" cy="22860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06204579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de by 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8"/>
          <p:cNvSpPr>
            <a:spLocks noGrp="1"/>
          </p:cNvSpPr>
          <p:nvPr>
            <p:ph sz="quarter" idx="16"/>
          </p:nvPr>
        </p:nvSpPr>
        <p:spPr>
          <a:xfrm>
            <a:off x="470001" y="1698958"/>
            <a:ext cx="3957219" cy="443849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400050" indent="-17780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7150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74295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74295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10" name="Content Placeholder 8"/>
          <p:cNvSpPr>
            <a:spLocks noGrp="1"/>
          </p:cNvSpPr>
          <p:nvPr>
            <p:ph sz="quarter" idx="17"/>
          </p:nvPr>
        </p:nvSpPr>
        <p:spPr>
          <a:xfrm>
            <a:off x="4600041" y="1695148"/>
            <a:ext cx="3957219" cy="443849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400050" indent="-17780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7150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74295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74295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6" name="Date Placeholder 1"/>
          <p:cNvSpPr>
            <a:spLocks noGrp="1"/>
          </p:cNvSpPr>
          <p:nvPr>
            <p:ph type="dt" sz="half" idx="18"/>
          </p:nvPr>
        </p:nvSpPr>
        <p:spPr/>
        <p:txBody>
          <a:bodyPr/>
          <a:lstStyle>
            <a:lvl1pPr>
              <a:defRPr/>
            </a:lvl1pPr>
          </a:lstStyle>
          <a:p>
            <a:fld id="{1AB85839-DE7E-4765-A9A0-B3F73C84A708}" type="datetime1">
              <a:rPr lang="en-US" smtClean="0">
                <a:solidFill>
                  <a:srgbClr val="000000"/>
                </a:solidFill>
              </a:rPr>
              <a:pPr/>
              <a:t>9/7/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7" name="TextBox 6"/>
          <p:cNvSpPr txBox="1">
            <a:spLocks noChangeArrowheads="1"/>
          </p:cNvSpPr>
          <p:nvPr userDrawn="1"/>
        </p:nvSpPr>
        <p:spPr bwMode="auto">
          <a:xfrm>
            <a:off x="3265488" y="6283325"/>
            <a:ext cx="2613025" cy="215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>
              <a:defRPr/>
            </a:pPr>
            <a:r>
              <a:rPr lang="en-US" sz="800" dirty="0" smtClean="0"/>
              <a:t>For </a:t>
            </a:r>
            <a:r>
              <a:rPr lang="en-US" sz="800" dirty="0" smtClean="0">
                <a:solidFill>
                  <a:srgbClr val="000000"/>
                </a:solidFill>
              </a:rPr>
              <a:t>Discussion &amp; Policy Purposes Only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462685" y="829056"/>
            <a:ext cx="7751547" cy="466344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2" name="Text Placeholder 12"/>
          <p:cNvSpPr>
            <a:spLocks noGrp="1"/>
          </p:cNvSpPr>
          <p:nvPr>
            <p:ph type="body" sz="quarter" idx="19"/>
          </p:nvPr>
        </p:nvSpPr>
        <p:spPr>
          <a:xfrm>
            <a:off x="462684" y="381000"/>
            <a:ext cx="7309716" cy="22860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23878422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dt="0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2" Type="http://schemas.openxmlformats.org/officeDocument/2006/relationships/slideLayout" Target="../slideLayouts/slideLayout8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.png"/><Relationship Id="rId5" Type="http://schemas.openxmlformats.org/officeDocument/2006/relationships/theme" Target="../theme/theme2.xml"/><Relationship Id="rId4" Type="http://schemas.openxmlformats.org/officeDocument/2006/relationships/slideLayout" Target="../slideLayouts/slideLayout10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.xml"/><Relationship Id="rId2" Type="http://schemas.openxmlformats.org/officeDocument/2006/relationships/slideLayout" Target="../slideLayouts/slideLayout12.xml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1.png"/><Relationship Id="rId5" Type="http://schemas.openxmlformats.org/officeDocument/2006/relationships/theme" Target="../theme/theme3.xml"/><Relationship Id="rId4" Type="http://schemas.openxmlformats.org/officeDocument/2006/relationships/slideLayout" Target="../slideLayouts/slideLayout14.xml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7.xml"/><Relationship Id="rId2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1.png"/><Relationship Id="rId5" Type="http://schemas.openxmlformats.org/officeDocument/2006/relationships/theme" Target="../theme/theme4.xml"/><Relationship Id="rId4" Type="http://schemas.openxmlformats.org/officeDocument/2006/relationships/slideLayout" Target="../slideLayouts/slideLayout18.xml"/></Relationships>
</file>

<file path=ppt/slideMasters/_rels/slideMaster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1.xml"/><Relationship Id="rId2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9.xml"/><Relationship Id="rId6" Type="http://schemas.openxmlformats.org/officeDocument/2006/relationships/image" Target="../media/image1.png"/><Relationship Id="rId5" Type="http://schemas.openxmlformats.org/officeDocument/2006/relationships/theme" Target="../theme/theme5.xml"/><Relationship Id="rId4" Type="http://schemas.openxmlformats.org/officeDocument/2006/relationships/slideLayout" Target="../slideLayouts/slideLayout22.xml"/></Relationships>
</file>

<file path=ppt/slideMasters/_rels/slideMaster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5.xml"/><Relationship Id="rId7" Type="http://schemas.openxmlformats.org/officeDocument/2006/relationships/image" Target="../media/image1.png"/><Relationship Id="rId2" Type="http://schemas.openxmlformats.org/officeDocument/2006/relationships/slideLayout" Target="../slideLayouts/slideLayout24.xml"/><Relationship Id="rId1" Type="http://schemas.openxmlformats.org/officeDocument/2006/relationships/slideLayout" Target="../slideLayouts/slideLayout23.xml"/><Relationship Id="rId6" Type="http://schemas.openxmlformats.org/officeDocument/2006/relationships/theme" Target="../theme/theme6.xml"/><Relationship Id="rId5" Type="http://schemas.openxmlformats.org/officeDocument/2006/relationships/slideLayout" Target="../slideLayouts/slideLayout27.xml"/><Relationship Id="rId4" Type="http://schemas.openxmlformats.org/officeDocument/2006/relationships/slideLayout" Target="../slideLayouts/slideLayout26.xml"/></Relationships>
</file>

<file path=ppt/slideMasters/_rels/slideMaster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0.xml"/><Relationship Id="rId7" Type="http://schemas.openxmlformats.org/officeDocument/2006/relationships/image" Target="../media/image1.png"/><Relationship Id="rId2" Type="http://schemas.openxmlformats.org/officeDocument/2006/relationships/slideLayout" Target="../slideLayouts/slideLayout29.xml"/><Relationship Id="rId1" Type="http://schemas.openxmlformats.org/officeDocument/2006/relationships/slideLayout" Target="../slideLayouts/slideLayout28.xml"/><Relationship Id="rId6" Type="http://schemas.openxmlformats.org/officeDocument/2006/relationships/theme" Target="../theme/theme7.xml"/><Relationship Id="rId5" Type="http://schemas.openxmlformats.org/officeDocument/2006/relationships/slideLayout" Target="../slideLayouts/slideLayout32.xml"/><Relationship Id="rId4" Type="http://schemas.openxmlformats.org/officeDocument/2006/relationships/slideLayout" Target="../slideLayouts/slideLayout31.xml"/></Relationships>
</file>

<file path=ppt/slideMasters/_rels/slideMaster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5.xml"/><Relationship Id="rId7" Type="http://schemas.openxmlformats.org/officeDocument/2006/relationships/image" Target="../media/image6.png"/><Relationship Id="rId2" Type="http://schemas.openxmlformats.org/officeDocument/2006/relationships/slideLayout" Target="../slideLayouts/slideLayout34.xml"/><Relationship Id="rId1" Type="http://schemas.openxmlformats.org/officeDocument/2006/relationships/slideLayout" Target="../slideLayouts/slideLayout33.xml"/><Relationship Id="rId6" Type="http://schemas.openxmlformats.org/officeDocument/2006/relationships/theme" Target="../theme/theme8.xml"/><Relationship Id="rId5" Type="http://schemas.openxmlformats.org/officeDocument/2006/relationships/slideLayout" Target="../slideLayouts/slideLayout37.xml"/><Relationship Id="rId4" Type="http://schemas.openxmlformats.org/officeDocument/2006/relationships/slideLayout" Target="../slideLayouts/slideLayout3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7" name="Straight Connector 26"/>
          <p:cNvCxnSpPr/>
          <p:nvPr/>
        </p:nvCxnSpPr>
        <p:spPr>
          <a:xfrm>
            <a:off x="447675" y="720725"/>
            <a:ext cx="7499350" cy="0"/>
          </a:xfrm>
          <a:prstGeom prst="line">
            <a:avLst/>
          </a:prstGeom>
          <a:ln w="12700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/>
          <p:cNvCxnSpPr/>
          <p:nvPr/>
        </p:nvCxnSpPr>
        <p:spPr>
          <a:xfrm>
            <a:off x="447675" y="1325563"/>
            <a:ext cx="8321675" cy="0"/>
          </a:xfrm>
          <a:prstGeom prst="line">
            <a:avLst/>
          </a:prstGeom>
          <a:ln w="9525">
            <a:solidFill>
              <a:schemeClr val="tx1"/>
            </a:solidFill>
            <a:prstDash val="sysDot"/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/>
          <p:cNvCxnSpPr/>
          <p:nvPr/>
        </p:nvCxnSpPr>
        <p:spPr>
          <a:xfrm>
            <a:off x="447675" y="6280150"/>
            <a:ext cx="8321675" cy="0"/>
          </a:xfrm>
          <a:prstGeom prst="line">
            <a:avLst/>
          </a:prstGeom>
          <a:ln w="9525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Slide Number Placeholder 6"/>
          <p:cNvSpPr txBox="1">
            <a:spLocks/>
          </p:cNvSpPr>
          <p:nvPr/>
        </p:nvSpPr>
        <p:spPr>
          <a:xfrm>
            <a:off x="8148638" y="6543675"/>
            <a:ext cx="762000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00" smtClean="0"/>
              <a:pPr algn="r" eaLnBrk="1" hangingPunct="1">
                <a:defRPr/>
              </a:pPr>
              <a:t>‹#›</a:t>
            </a:fld>
            <a:endParaRPr lang="en-US" altLang="en-US" sz="1000" dirty="0" smtClean="0"/>
          </a:p>
        </p:txBody>
      </p:sp>
      <p:sp>
        <p:nvSpPr>
          <p:cNvPr id="41" name="Content Placeholder 8"/>
          <p:cNvSpPr txBox="1">
            <a:spLocks/>
          </p:cNvSpPr>
          <p:nvPr/>
        </p:nvSpPr>
        <p:spPr>
          <a:xfrm>
            <a:off x="469900" y="1698625"/>
            <a:ext cx="8348663" cy="4438650"/>
          </a:xfrm>
          <a:prstGeom prst="rect">
            <a:avLst/>
          </a:prstGeom>
        </p:spPr>
        <p:txBody>
          <a:bodyPr/>
          <a:lstStyle>
            <a:lvl1pPr marL="342900" indent="-342900" algn="l" rtl="0" eaLnBrk="1" fontAlgn="base" hangingPunct="1">
              <a:spcBef>
                <a:spcPts val="1000"/>
              </a:spcBef>
              <a:spcAft>
                <a:spcPct val="0"/>
              </a:spcAft>
              <a:buClr>
                <a:schemeClr val="tx1"/>
              </a:buClr>
              <a:buFont typeface="+mj-lt"/>
              <a:buAutoNum type="arabicPeriod"/>
              <a:defRPr sz="1300" b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00050" indent="-1778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Font typeface="Arial" pitchFamily="34" charset="0"/>
              <a:buChar char="›"/>
              <a:defRPr sz="20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571500" indent="-17145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Font typeface="Arial" pitchFamily="34" charset="0"/>
              <a:buChar char="»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742950" indent="-17145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Font typeface="Arial" pitchFamily="34" charset="0"/>
              <a:buChar char="–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857250" indent="-1143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Char char="»"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  <a:lvl6pPr marL="20574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5146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29718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4290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>
              <a:defRPr/>
            </a:pPr>
            <a:endParaRPr lang="en-US" dirty="0" smtClean="0"/>
          </a:p>
        </p:txBody>
      </p:sp>
      <p:sp>
        <p:nvSpPr>
          <p:cNvPr id="18" name="Date Placeholder 1"/>
          <p:cNvSpPr>
            <a:spLocks noGrp="1"/>
          </p:cNvSpPr>
          <p:nvPr>
            <p:ph type="dt" sz="half" idx="2"/>
          </p:nvPr>
        </p:nvSpPr>
        <p:spPr>
          <a:xfrm>
            <a:off x="7200900" y="6269038"/>
            <a:ext cx="1673225" cy="155575"/>
          </a:xfrm>
          <a:prstGeom prst="rect">
            <a:avLst/>
          </a:prstGeom>
        </p:spPr>
        <p:txBody>
          <a:bodyPr/>
          <a:lstStyle>
            <a:lvl1pPr algn="r" eaLnBrk="1" hangingPunct="1">
              <a:defRPr sz="800">
                <a:latin typeface="Arial" charset="0"/>
                <a:cs typeface="+mn-cs"/>
              </a:defRPr>
            </a:lvl1pPr>
          </a:lstStyle>
          <a:p>
            <a:fld id="{1AB85839-DE7E-4765-A9A0-B3F73C84A708}" type="datetime1">
              <a:rPr lang="en-US" smtClean="0"/>
              <a:pPr/>
              <a:t>9/7/2018</a:t>
            </a:fld>
            <a:endParaRPr lang="en-US" dirty="0"/>
          </a:p>
        </p:txBody>
      </p:sp>
      <p:pic>
        <p:nvPicPr>
          <p:cNvPr id="1034" name="Picture 2" descr="File:MBTA.svg"/>
          <p:cNvPicPr>
            <a:picLocks noChangeAspect="1" noChangeArrowheads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139113" y="222250"/>
            <a:ext cx="711200" cy="711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" name="TextBox 10"/>
          <p:cNvSpPr txBox="1">
            <a:spLocks noChangeArrowheads="1"/>
          </p:cNvSpPr>
          <p:nvPr userDrawn="1"/>
        </p:nvSpPr>
        <p:spPr bwMode="auto">
          <a:xfrm>
            <a:off x="3265488" y="6283325"/>
            <a:ext cx="2613025" cy="215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defRPr/>
            </a:pPr>
            <a:r>
              <a:rPr lang="en-US" sz="800" dirty="0" smtClean="0"/>
              <a:t>For Discussion &amp; Policy Purposes Only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4" r:id="rId1"/>
    <p:sldLayoutId id="2147483662" r:id="rId2"/>
    <p:sldLayoutId id="2147483663" r:id="rId3"/>
    <p:sldLayoutId id="2147483673" r:id="rId4"/>
    <p:sldLayoutId id="2147483674" r:id="rId5"/>
    <p:sldLayoutId id="2147483727" r:id="rId6"/>
  </p:sldLayoutIdLst>
  <p:timing>
    <p:tnLst>
      <p:par>
        <p:cTn id="1" dur="indefinite" restart="never" nodeType="tmRoot"/>
      </p:par>
    </p:tnLst>
  </p:timing>
  <p:hf hd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33CC"/>
          </a:solidFill>
          <a:latin typeface="Calibri" panose="020F0502020204030204" pitchFamily="34" charset="0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33CC"/>
          </a:solidFill>
          <a:latin typeface="Calibri" panose="020F0502020204030204" pitchFamily="34" charset="0"/>
          <a:cs typeface="Arial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33CC"/>
          </a:solidFill>
          <a:latin typeface="Calibri" panose="020F0502020204030204" pitchFamily="34" charset="0"/>
          <a:cs typeface="Arial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33CC"/>
          </a:solidFill>
          <a:latin typeface="Calibri" panose="020F0502020204030204" pitchFamily="34" charset="0"/>
          <a:cs typeface="Arial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33CC"/>
          </a:solidFill>
          <a:latin typeface="Calibri" panose="020F0502020204030204" pitchFamily="34" charset="0"/>
          <a:cs typeface="Arial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Verdana" pitchFamily="34" charset="0"/>
          <a:cs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Verdana" pitchFamily="34" charset="0"/>
          <a:cs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Verdana" pitchFamily="34" charset="0"/>
          <a:cs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Verdana" pitchFamily="34" charset="0"/>
          <a:cs typeface="Arial" charset="0"/>
        </a:defRPr>
      </a:lvl9pPr>
    </p:titleStyle>
    <p:bodyStyle>
      <a:lvl1pPr marL="228600" indent="-228600" algn="l" rtl="0" eaLnBrk="1" fontAlgn="base" hangingPunct="1">
        <a:spcBef>
          <a:spcPct val="100000"/>
        </a:spcBef>
        <a:spcAft>
          <a:spcPct val="0"/>
        </a:spcAft>
        <a:buClr>
          <a:srgbClr val="0033CC"/>
        </a:buClr>
        <a:buChar char="•"/>
        <a:defRPr sz="2400" b="1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1pPr>
      <a:lvl2pPr marL="576263" indent="-233363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Font typeface="Arial" charset="0"/>
        <a:buChar char="–"/>
        <a:defRPr sz="2000">
          <a:solidFill>
            <a:schemeClr val="tx1"/>
          </a:solidFill>
          <a:latin typeface="Calibri" panose="020F0502020204030204" pitchFamily="34" charset="0"/>
          <a:cs typeface="+mn-cs"/>
        </a:defRPr>
      </a:lvl2pPr>
      <a:lvl3pPr marL="914400" indent="-223838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•"/>
        <a:defRPr sz="2000">
          <a:solidFill>
            <a:schemeClr val="tx1"/>
          </a:solidFill>
          <a:latin typeface="Calibri" panose="020F0502020204030204" pitchFamily="34" charset="0"/>
          <a:cs typeface="+mn-cs"/>
        </a:defRPr>
      </a:lvl3pPr>
      <a:lvl4pPr marL="1262063" indent="-233363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–"/>
        <a:defRPr sz="2000">
          <a:solidFill>
            <a:schemeClr val="tx1"/>
          </a:solidFill>
          <a:latin typeface="Calibri" panose="020F0502020204030204" pitchFamily="34" charset="0"/>
          <a:cs typeface="+mn-cs"/>
        </a:defRPr>
      </a:lvl4pPr>
      <a:lvl5pPr marL="1600200" indent="-223838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Calibri" panose="020F0502020204030204" pitchFamily="34" charset="0"/>
          <a:cs typeface="+mn-cs"/>
        </a:defRPr>
      </a:lvl5pPr>
      <a:lvl6pPr marL="2057400" indent="-223838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514600" indent="-223838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2971800" indent="-223838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429000" indent="-223838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7" name="Straight Connector 26"/>
          <p:cNvCxnSpPr/>
          <p:nvPr/>
        </p:nvCxnSpPr>
        <p:spPr>
          <a:xfrm>
            <a:off x="447675" y="720725"/>
            <a:ext cx="7499350" cy="0"/>
          </a:xfrm>
          <a:prstGeom prst="line">
            <a:avLst/>
          </a:prstGeom>
          <a:ln w="12700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/>
          <p:cNvCxnSpPr/>
          <p:nvPr/>
        </p:nvCxnSpPr>
        <p:spPr>
          <a:xfrm>
            <a:off x="447675" y="1325563"/>
            <a:ext cx="8321675" cy="0"/>
          </a:xfrm>
          <a:prstGeom prst="line">
            <a:avLst/>
          </a:prstGeom>
          <a:ln w="9525">
            <a:solidFill>
              <a:schemeClr val="tx1"/>
            </a:solidFill>
            <a:prstDash val="sysDot"/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/>
          <p:cNvCxnSpPr/>
          <p:nvPr/>
        </p:nvCxnSpPr>
        <p:spPr>
          <a:xfrm>
            <a:off x="447675" y="6280150"/>
            <a:ext cx="8321675" cy="0"/>
          </a:xfrm>
          <a:prstGeom prst="line">
            <a:avLst/>
          </a:prstGeom>
          <a:ln w="9525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Slide Number Placeholder 6"/>
          <p:cNvSpPr txBox="1">
            <a:spLocks/>
          </p:cNvSpPr>
          <p:nvPr/>
        </p:nvSpPr>
        <p:spPr>
          <a:xfrm>
            <a:off x="8148638" y="6543675"/>
            <a:ext cx="762000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>
              <a:defRPr/>
            </a:pPr>
            <a:fld id="{BBE80981-3DA6-46C2-826D-0D8005ADC286}" type="slidenum">
              <a:rPr lang="en-US" altLang="en-US" sz="1000" smtClean="0">
                <a:solidFill>
                  <a:srgbClr val="000000"/>
                </a:solidFill>
              </a:rPr>
              <a:pPr algn="r">
                <a:defRPr/>
              </a:pPr>
              <a:t>‹#›</a:t>
            </a:fld>
            <a:endParaRPr lang="en-US" altLang="en-US" sz="1000" dirty="0" smtClean="0">
              <a:solidFill>
                <a:srgbClr val="000000"/>
              </a:solidFill>
            </a:endParaRPr>
          </a:p>
        </p:txBody>
      </p:sp>
      <p:sp>
        <p:nvSpPr>
          <p:cNvPr id="41" name="Content Placeholder 8"/>
          <p:cNvSpPr txBox="1">
            <a:spLocks/>
          </p:cNvSpPr>
          <p:nvPr/>
        </p:nvSpPr>
        <p:spPr>
          <a:xfrm>
            <a:off x="469900" y="1698625"/>
            <a:ext cx="8348663" cy="4438650"/>
          </a:xfrm>
          <a:prstGeom prst="rect">
            <a:avLst/>
          </a:prstGeom>
        </p:spPr>
        <p:txBody>
          <a:bodyPr/>
          <a:lstStyle>
            <a:lvl1pPr marL="342900" indent="-342900" algn="l" rtl="0" eaLnBrk="1" fontAlgn="base" hangingPunct="1">
              <a:spcBef>
                <a:spcPts val="1000"/>
              </a:spcBef>
              <a:spcAft>
                <a:spcPct val="0"/>
              </a:spcAft>
              <a:buClr>
                <a:schemeClr val="tx1"/>
              </a:buClr>
              <a:buFont typeface="+mj-lt"/>
              <a:buAutoNum type="arabicPeriod"/>
              <a:defRPr sz="1300" b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00050" indent="-1778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Font typeface="Arial" pitchFamily="34" charset="0"/>
              <a:buChar char="›"/>
              <a:defRPr sz="20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571500" indent="-17145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Font typeface="Arial" pitchFamily="34" charset="0"/>
              <a:buChar char="»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742950" indent="-17145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Font typeface="Arial" pitchFamily="34" charset="0"/>
              <a:buChar char="–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857250" indent="-1143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Char char="»"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  <a:lvl6pPr marL="20574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5146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29718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4290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>
              <a:buClr>
                <a:srgbClr val="000000"/>
              </a:buClr>
              <a:defRPr/>
            </a:pPr>
            <a:endParaRPr lang="en-US" dirty="0" smtClean="0">
              <a:solidFill>
                <a:srgbClr val="000000"/>
              </a:solidFill>
            </a:endParaRPr>
          </a:p>
        </p:txBody>
      </p:sp>
      <p:sp>
        <p:nvSpPr>
          <p:cNvPr id="18" name="Date Placeholder 1"/>
          <p:cNvSpPr>
            <a:spLocks noGrp="1"/>
          </p:cNvSpPr>
          <p:nvPr>
            <p:ph type="dt" sz="half" idx="2"/>
          </p:nvPr>
        </p:nvSpPr>
        <p:spPr>
          <a:xfrm>
            <a:off x="7200900" y="6269038"/>
            <a:ext cx="1673225" cy="155575"/>
          </a:xfrm>
          <a:prstGeom prst="rect">
            <a:avLst/>
          </a:prstGeom>
        </p:spPr>
        <p:txBody>
          <a:bodyPr/>
          <a:lstStyle>
            <a:lvl1pPr algn="r" eaLnBrk="1" hangingPunct="1">
              <a:defRPr sz="800">
                <a:latin typeface="Arial" charset="0"/>
                <a:cs typeface="+mn-cs"/>
              </a:defRPr>
            </a:lvl1pPr>
          </a:lstStyle>
          <a:p>
            <a:fld id="{1AB85839-DE7E-4765-A9A0-B3F73C84A708}" type="datetime1">
              <a:rPr lang="en-US" smtClean="0">
                <a:solidFill>
                  <a:srgbClr val="000000"/>
                </a:solidFill>
              </a:rPr>
              <a:pPr/>
              <a:t>9/7/2018</a:t>
            </a:fld>
            <a:endParaRPr lang="en-US" dirty="0">
              <a:solidFill>
                <a:srgbClr val="000000"/>
              </a:solidFill>
            </a:endParaRPr>
          </a:p>
        </p:txBody>
      </p:sp>
      <p:pic>
        <p:nvPicPr>
          <p:cNvPr id="1034" name="Picture 2" descr="File:MBTA.svg"/>
          <p:cNvPicPr>
            <a:picLocks noChangeAspect="1" noChangeArrowheads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139113" y="222250"/>
            <a:ext cx="711200" cy="711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TextBox 9"/>
          <p:cNvSpPr txBox="1">
            <a:spLocks noChangeArrowheads="1"/>
          </p:cNvSpPr>
          <p:nvPr userDrawn="1"/>
        </p:nvSpPr>
        <p:spPr bwMode="auto">
          <a:xfrm>
            <a:off x="3265488" y="6283325"/>
            <a:ext cx="2613025" cy="215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defRPr/>
            </a:pPr>
            <a:r>
              <a:rPr lang="en-US" sz="800" dirty="0" smtClean="0"/>
              <a:t>For Discussion &amp; Policy Purposes Only</a:t>
            </a:r>
          </a:p>
        </p:txBody>
      </p:sp>
    </p:spTree>
    <p:extLst>
      <p:ext uri="{BB962C8B-B14F-4D97-AF65-F5344CB8AC3E}">
        <p14:creationId xmlns:p14="http://schemas.microsoft.com/office/powerpoint/2010/main" val="211438602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9" r:id="rId1"/>
    <p:sldLayoutId id="2147483690" r:id="rId2"/>
    <p:sldLayoutId id="2147483691" r:id="rId3"/>
    <p:sldLayoutId id="2147483692" r:id="rId4"/>
  </p:sldLayoutIdLst>
  <p:timing>
    <p:tnLst>
      <p:par>
        <p:cTn id="1" dur="indefinite" restart="never" nodeType="tmRoot"/>
      </p:par>
    </p:tnLst>
  </p:timing>
  <p:hf hd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33CC"/>
          </a:solidFill>
          <a:latin typeface="Calibri" panose="020F0502020204030204" pitchFamily="34" charset="0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33CC"/>
          </a:solidFill>
          <a:latin typeface="Calibri" panose="020F0502020204030204" pitchFamily="34" charset="0"/>
          <a:cs typeface="Arial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33CC"/>
          </a:solidFill>
          <a:latin typeface="Calibri" panose="020F0502020204030204" pitchFamily="34" charset="0"/>
          <a:cs typeface="Arial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33CC"/>
          </a:solidFill>
          <a:latin typeface="Calibri" panose="020F0502020204030204" pitchFamily="34" charset="0"/>
          <a:cs typeface="Arial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33CC"/>
          </a:solidFill>
          <a:latin typeface="Calibri" panose="020F0502020204030204" pitchFamily="34" charset="0"/>
          <a:cs typeface="Arial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Verdana" pitchFamily="34" charset="0"/>
          <a:cs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Verdana" pitchFamily="34" charset="0"/>
          <a:cs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Verdana" pitchFamily="34" charset="0"/>
          <a:cs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Verdana" pitchFamily="34" charset="0"/>
          <a:cs typeface="Arial" charset="0"/>
        </a:defRPr>
      </a:lvl9pPr>
    </p:titleStyle>
    <p:bodyStyle>
      <a:lvl1pPr marL="228600" indent="-228600" algn="l" rtl="0" eaLnBrk="1" fontAlgn="base" hangingPunct="1">
        <a:spcBef>
          <a:spcPct val="100000"/>
        </a:spcBef>
        <a:spcAft>
          <a:spcPct val="0"/>
        </a:spcAft>
        <a:buClr>
          <a:srgbClr val="0033CC"/>
        </a:buClr>
        <a:buChar char="•"/>
        <a:defRPr sz="2400" b="1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1pPr>
      <a:lvl2pPr marL="576263" indent="-233363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Font typeface="Arial" charset="0"/>
        <a:buChar char="–"/>
        <a:defRPr sz="2000">
          <a:solidFill>
            <a:schemeClr val="tx1"/>
          </a:solidFill>
          <a:latin typeface="Calibri" panose="020F0502020204030204" pitchFamily="34" charset="0"/>
          <a:cs typeface="+mn-cs"/>
        </a:defRPr>
      </a:lvl2pPr>
      <a:lvl3pPr marL="914400" indent="-223838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•"/>
        <a:defRPr sz="2000">
          <a:solidFill>
            <a:schemeClr val="tx1"/>
          </a:solidFill>
          <a:latin typeface="Calibri" panose="020F0502020204030204" pitchFamily="34" charset="0"/>
          <a:cs typeface="+mn-cs"/>
        </a:defRPr>
      </a:lvl3pPr>
      <a:lvl4pPr marL="1262063" indent="-233363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–"/>
        <a:defRPr sz="2000">
          <a:solidFill>
            <a:schemeClr val="tx1"/>
          </a:solidFill>
          <a:latin typeface="Calibri" panose="020F0502020204030204" pitchFamily="34" charset="0"/>
          <a:cs typeface="+mn-cs"/>
        </a:defRPr>
      </a:lvl4pPr>
      <a:lvl5pPr marL="1600200" indent="-223838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Calibri" panose="020F0502020204030204" pitchFamily="34" charset="0"/>
          <a:cs typeface="+mn-cs"/>
        </a:defRPr>
      </a:lvl5pPr>
      <a:lvl6pPr marL="2057400" indent="-223838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514600" indent="-223838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2971800" indent="-223838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429000" indent="-223838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7" name="Straight Connector 26"/>
          <p:cNvCxnSpPr/>
          <p:nvPr/>
        </p:nvCxnSpPr>
        <p:spPr>
          <a:xfrm>
            <a:off x="447675" y="720725"/>
            <a:ext cx="7499350" cy="0"/>
          </a:xfrm>
          <a:prstGeom prst="line">
            <a:avLst/>
          </a:prstGeom>
          <a:ln w="12700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/>
          <p:cNvCxnSpPr/>
          <p:nvPr/>
        </p:nvCxnSpPr>
        <p:spPr>
          <a:xfrm>
            <a:off x="447675" y="1325563"/>
            <a:ext cx="8321675" cy="0"/>
          </a:xfrm>
          <a:prstGeom prst="line">
            <a:avLst/>
          </a:prstGeom>
          <a:ln w="9525">
            <a:solidFill>
              <a:schemeClr val="tx1"/>
            </a:solidFill>
            <a:prstDash val="sysDot"/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/>
          <p:cNvCxnSpPr/>
          <p:nvPr/>
        </p:nvCxnSpPr>
        <p:spPr>
          <a:xfrm>
            <a:off x="447675" y="6280150"/>
            <a:ext cx="8321675" cy="0"/>
          </a:xfrm>
          <a:prstGeom prst="line">
            <a:avLst/>
          </a:prstGeom>
          <a:ln w="9525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Slide Number Placeholder 6"/>
          <p:cNvSpPr txBox="1">
            <a:spLocks/>
          </p:cNvSpPr>
          <p:nvPr/>
        </p:nvSpPr>
        <p:spPr>
          <a:xfrm>
            <a:off x="8148638" y="6543675"/>
            <a:ext cx="762000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>
              <a:defRPr/>
            </a:pPr>
            <a:fld id="{BBE80981-3DA6-46C2-826D-0D8005ADC286}" type="slidenum">
              <a:rPr lang="en-US" altLang="en-US" sz="1000" smtClean="0">
                <a:solidFill>
                  <a:srgbClr val="000000"/>
                </a:solidFill>
              </a:rPr>
              <a:pPr algn="r">
                <a:defRPr/>
              </a:pPr>
              <a:t>‹#›</a:t>
            </a:fld>
            <a:endParaRPr lang="en-US" altLang="en-US" sz="1000" dirty="0" smtClean="0">
              <a:solidFill>
                <a:srgbClr val="000000"/>
              </a:solidFill>
            </a:endParaRPr>
          </a:p>
        </p:txBody>
      </p:sp>
      <p:sp>
        <p:nvSpPr>
          <p:cNvPr id="41" name="Content Placeholder 8"/>
          <p:cNvSpPr txBox="1">
            <a:spLocks/>
          </p:cNvSpPr>
          <p:nvPr/>
        </p:nvSpPr>
        <p:spPr>
          <a:xfrm>
            <a:off x="469900" y="1698625"/>
            <a:ext cx="8348663" cy="4438650"/>
          </a:xfrm>
          <a:prstGeom prst="rect">
            <a:avLst/>
          </a:prstGeom>
        </p:spPr>
        <p:txBody>
          <a:bodyPr/>
          <a:lstStyle>
            <a:lvl1pPr marL="342900" indent="-342900" algn="l" rtl="0" eaLnBrk="1" fontAlgn="base" hangingPunct="1">
              <a:spcBef>
                <a:spcPts val="1000"/>
              </a:spcBef>
              <a:spcAft>
                <a:spcPct val="0"/>
              </a:spcAft>
              <a:buClr>
                <a:schemeClr val="tx1"/>
              </a:buClr>
              <a:buFont typeface="+mj-lt"/>
              <a:buAutoNum type="arabicPeriod"/>
              <a:defRPr sz="1300" b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00050" indent="-1778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Font typeface="Arial" pitchFamily="34" charset="0"/>
              <a:buChar char="›"/>
              <a:defRPr sz="20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571500" indent="-17145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Font typeface="Arial" pitchFamily="34" charset="0"/>
              <a:buChar char="»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742950" indent="-17145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Font typeface="Arial" pitchFamily="34" charset="0"/>
              <a:buChar char="–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857250" indent="-1143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Char char="»"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  <a:lvl6pPr marL="20574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5146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29718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4290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>
              <a:buClr>
                <a:srgbClr val="000000"/>
              </a:buClr>
              <a:defRPr/>
            </a:pPr>
            <a:endParaRPr lang="en-US" dirty="0" smtClean="0">
              <a:solidFill>
                <a:srgbClr val="000000"/>
              </a:solidFill>
            </a:endParaRPr>
          </a:p>
        </p:txBody>
      </p:sp>
      <p:sp>
        <p:nvSpPr>
          <p:cNvPr id="18" name="Date Placeholder 1"/>
          <p:cNvSpPr>
            <a:spLocks noGrp="1"/>
          </p:cNvSpPr>
          <p:nvPr>
            <p:ph type="dt" sz="half" idx="2"/>
          </p:nvPr>
        </p:nvSpPr>
        <p:spPr>
          <a:xfrm>
            <a:off x="7200900" y="6269038"/>
            <a:ext cx="1673225" cy="155575"/>
          </a:xfrm>
          <a:prstGeom prst="rect">
            <a:avLst/>
          </a:prstGeom>
        </p:spPr>
        <p:txBody>
          <a:bodyPr/>
          <a:lstStyle>
            <a:lvl1pPr algn="r" eaLnBrk="1" hangingPunct="1">
              <a:defRPr sz="800">
                <a:latin typeface="Arial" charset="0"/>
                <a:cs typeface="+mn-cs"/>
              </a:defRPr>
            </a:lvl1pPr>
          </a:lstStyle>
          <a:p>
            <a:fld id="{1AB85839-DE7E-4765-A9A0-B3F73C84A708}" type="datetime1">
              <a:rPr lang="en-US" smtClean="0">
                <a:solidFill>
                  <a:srgbClr val="000000"/>
                </a:solidFill>
              </a:rPr>
              <a:pPr/>
              <a:t>9/7/2018</a:t>
            </a:fld>
            <a:endParaRPr lang="en-US" dirty="0">
              <a:solidFill>
                <a:srgbClr val="000000"/>
              </a:solidFill>
            </a:endParaRPr>
          </a:p>
        </p:txBody>
      </p:sp>
      <p:pic>
        <p:nvPicPr>
          <p:cNvPr id="1034" name="Picture 2" descr="File:MBTA.svg"/>
          <p:cNvPicPr>
            <a:picLocks noChangeAspect="1" noChangeArrowheads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139113" y="222250"/>
            <a:ext cx="711200" cy="711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TextBox 9"/>
          <p:cNvSpPr txBox="1">
            <a:spLocks noChangeArrowheads="1"/>
          </p:cNvSpPr>
          <p:nvPr userDrawn="1"/>
        </p:nvSpPr>
        <p:spPr bwMode="auto">
          <a:xfrm>
            <a:off x="3265488" y="6283325"/>
            <a:ext cx="2613025" cy="215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defRPr/>
            </a:pPr>
            <a:r>
              <a:rPr lang="en-US" sz="800" dirty="0" smtClean="0"/>
              <a:t>For Discussion &amp; Policy Purposes Only</a:t>
            </a:r>
          </a:p>
        </p:txBody>
      </p:sp>
    </p:spTree>
    <p:extLst>
      <p:ext uri="{BB962C8B-B14F-4D97-AF65-F5344CB8AC3E}">
        <p14:creationId xmlns:p14="http://schemas.microsoft.com/office/powerpoint/2010/main" val="42264690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4" r:id="rId1"/>
    <p:sldLayoutId id="2147483695" r:id="rId2"/>
    <p:sldLayoutId id="2147483696" r:id="rId3"/>
    <p:sldLayoutId id="2147483697" r:id="rId4"/>
  </p:sldLayoutIdLst>
  <p:timing>
    <p:tnLst>
      <p:par>
        <p:cTn id="1" dur="indefinite" restart="never" nodeType="tmRoot"/>
      </p:par>
    </p:tnLst>
  </p:timing>
  <p:hf hd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33CC"/>
          </a:solidFill>
          <a:latin typeface="Calibri" panose="020F0502020204030204" pitchFamily="34" charset="0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33CC"/>
          </a:solidFill>
          <a:latin typeface="Calibri" panose="020F0502020204030204" pitchFamily="34" charset="0"/>
          <a:cs typeface="Arial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33CC"/>
          </a:solidFill>
          <a:latin typeface="Calibri" panose="020F0502020204030204" pitchFamily="34" charset="0"/>
          <a:cs typeface="Arial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33CC"/>
          </a:solidFill>
          <a:latin typeface="Calibri" panose="020F0502020204030204" pitchFamily="34" charset="0"/>
          <a:cs typeface="Arial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33CC"/>
          </a:solidFill>
          <a:latin typeface="Calibri" panose="020F0502020204030204" pitchFamily="34" charset="0"/>
          <a:cs typeface="Arial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Verdana" pitchFamily="34" charset="0"/>
          <a:cs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Verdana" pitchFamily="34" charset="0"/>
          <a:cs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Verdana" pitchFamily="34" charset="0"/>
          <a:cs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Verdana" pitchFamily="34" charset="0"/>
          <a:cs typeface="Arial" charset="0"/>
        </a:defRPr>
      </a:lvl9pPr>
    </p:titleStyle>
    <p:bodyStyle>
      <a:lvl1pPr marL="228600" indent="-228600" algn="l" rtl="0" eaLnBrk="1" fontAlgn="base" hangingPunct="1">
        <a:spcBef>
          <a:spcPct val="100000"/>
        </a:spcBef>
        <a:spcAft>
          <a:spcPct val="0"/>
        </a:spcAft>
        <a:buClr>
          <a:srgbClr val="0033CC"/>
        </a:buClr>
        <a:buChar char="•"/>
        <a:defRPr sz="2400" b="1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1pPr>
      <a:lvl2pPr marL="576263" indent="-233363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Font typeface="Arial" charset="0"/>
        <a:buChar char="–"/>
        <a:defRPr sz="2000">
          <a:solidFill>
            <a:schemeClr val="tx1"/>
          </a:solidFill>
          <a:latin typeface="Calibri" panose="020F0502020204030204" pitchFamily="34" charset="0"/>
          <a:cs typeface="+mn-cs"/>
        </a:defRPr>
      </a:lvl2pPr>
      <a:lvl3pPr marL="914400" indent="-223838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•"/>
        <a:defRPr sz="2000">
          <a:solidFill>
            <a:schemeClr val="tx1"/>
          </a:solidFill>
          <a:latin typeface="Calibri" panose="020F0502020204030204" pitchFamily="34" charset="0"/>
          <a:cs typeface="+mn-cs"/>
        </a:defRPr>
      </a:lvl3pPr>
      <a:lvl4pPr marL="1262063" indent="-233363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–"/>
        <a:defRPr sz="2000">
          <a:solidFill>
            <a:schemeClr val="tx1"/>
          </a:solidFill>
          <a:latin typeface="Calibri" panose="020F0502020204030204" pitchFamily="34" charset="0"/>
          <a:cs typeface="+mn-cs"/>
        </a:defRPr>
      </a:lvl4pPr>
      <a:lvl5pPr marL="1600200" indent="-223838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Calibri" panose="020F0502020204030204" pitchFamily="34" charset="0"/>
          <a:cs typeface="+mn-cs"/>
        </a:defRPr>
      </a:lvl5pPr>
      <a:lvl6pPr marL="2057400" indent="-223838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514600" indent="-223838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2971800" indent="-223838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429000" indent="-223838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7" name="Straight Connector 26"/>
          <p:cNvCxnSpPr/>
          <p:nvPr/>
        </p:nvCxnSpPr>
        <p:spPr>
          <a:xfrm>
            <a:off x="447675" y="720725"/>
            <a:ext cx="7499350" cy="0"/>
          </a:xfrm>
          <a:prstGeom prst="line">
            <a:avLst/>
          </a:prstGeom>
          <a:ln w="12700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/>
          <p:cNvCxnSpPr/>
          <p:nvPr/>
        </p:nvCxnSpPr>
        <p:spPr>
          <a:xfrm>
            <a:off x="447675" y="1325563"/>
            <a:ext cx="8321675" cy="0"/>
          </a:xfrm>
          <a:prstGeom prst="line">
            <a:avLst/>
          </a:prstGeom>
          <a:ln w="9525">
            <a:solidFill>
              <a:schemeClr val="tx1"/>
            </a:solidFill>
            <a:prstDash val="sysDot"/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/>
          <p:cNvCxnSpPr/>
          <p:nvPr/>
        </p:nvCxnSpPr>
        <p:spPr>
          <a:xfrm>
            <a:off x="447675" y="6280150"/>
            <a:ext cx="8321675" cy="0"/>
          </a:xfrm>
          <a:prstGeom prst="line">
            <a:avLst/>
          </a:prstGeom>
          <a:ln w="9525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Slide Number Placeholder 6"/>
          <p:cNvSpPr txBox="1">
            <a:spLocks/>
          </p:cNvSpPr>
          <p:nvPr/>
        </p:nvSpPr>
        <p:spPr>
          <a:xfrm>
            <a:off x="8148638" y="6543675"/>
            <a:ext cx="762000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>
              <a:defRPr/>
            </a:pPr>
            <a:fld id="{BBE80981-3DA6-46C2-826D-0D8005ADC286}" type="slidenum">
              <a:rPr lang="en-US" altLang="en-US" sz="1000" smtClean="0">
                <a:solidFill>
                  <a:srgbClr val="000000"/>
                </a:solidFill>
              </a:rPr>
              <a:pPr algn="r">
                <a:defRPr/>
              </a:pPr>
              <a:t>‹#›</a:t>
            </a:fld>
            <a:endParaRPr lang="en-US" altLang="en-US" sz="1000" dirty="0" smtClean="0">
              <a:solidFill>
                <a:srgbClr val="000000"/>
              </a:solidFill>
            </a:endParaRPr>
          </a:p>
        </p:txBody>
      </p:sp>
      <p:sp>
        <p:nvSpPr>
          <p:cNvPr id="41" name="Content Placeholder 8"/>
          <p:cNvSpPr txBox="1">
            <a:spLocks/>
          </p:cNvSpPr>
          <p:nvPr/>
        </p:nvSpPr>
        <p:spPr>
          <a:xfrm>
            <a:off x="469900" y="1698625"/>
            <a:ext cx="8348663" cy="4438650"/>
          </a:xfrm>
          <a:prstGeom prst="rect">
            <a:avLst/>
          </a:prstGeom>
        </p:spPr>
        <p:txBody>
          <a:bodyPr/>
          <a:lstStyle>
            <a:lvl1pPr marL="342900" indent="-342900" algn="l" rtl="0" eaLnBrk="1" fontAlgn="base" hangingPunct="1">
              <a:spcBef>
                <a:spcPts val="1000"/>
              </a:spcBef>
              <a:spcAft>
                <a:spcPct val="0"/>
              </a:spcAft>
              <a:buClr>
                <a:schemeClr val="tx1"/>
              </a:buClr>
              <a:buFont typeface="+mj-lt"/>
              <a:buAutoNum type="arabicPeriod"/>
              <a:defRPr sz="1300" b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00050" indent="-1778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Font typeface="Arial" pitchFamily="34" charset="0"/>
              <a:buChar char="›"/>
              <a:defRPr sz="20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571500" indent="-17145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Font typeface="Arial" pitchFamily="34" charset="0"/>
              <a:buChar char="»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742950" indent="-17145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Font typeface="Arial" pitchFamily="34" charset="0"/>
              <a:buChar char="–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857250" indent="-1143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Char char="»"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  <a:lvl6pPr marL="20574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5146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29718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4290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>
              <a:buClr>
                <a:srgbClr val="000000"/>
              </a:buClr>
              <a:defRPr/>
            </a:pPr>
            <a:endParaRPr lang="en-US" dirty="0" smtClean="0">
              <a:solidFill>
                <a:srgbClr val="000000"/>
              </a:solidFill>
            </a:endParaRPr>
          </a:p>
        </p:txBody>
      </p:sp>
      <p:sp>
        <p:nvSpPr>
          <p:cNvPr id="18" name="Date Placeholder 1"/>
          <p:cNvSpPr>
            <a:spLocks noGrp="1"/>
          </p:cNvSpPr>
          <p:nvPr>
            <p:ph type="dt" sz="half" idx="2"/>
          </p:nvPr>
        </p:nvSpPr>
        <p:spPr>
          <a:xfrm>
            <a:off x="7200900" y="6269038"/>
            <a:ext cx="1673225" cy="155575"/>
          </a:xfrm>
          <a:prstGeom prst="rect">
            <a:avLst/>
          </a:prstGeom>
        </p:spPr>
        <p:txBody>
          <a:bodyPr/>
          <a:lstStyle>
            <a:lvl1pPr algn="r" eaLnBrk="1" hangingPunct="1">
              <a:defRPr sz="800">
                <a:latin typeface="Arial" charset="0"/>
                <a:cs typeface="+mn-cs"/>
              </a:defRPr>
            </a:lvl1pPr>
          </a:lstStyle>
          <a:p>
            <a:fld id="{1AB85839-DE7E-4765-A9A0-B3F73C84A708}" type="datetime1">
              <a:rPr lang="en-US" smtClean="0">
                <a:solidFill>
                  <a:srgbClr val="000000"/>
                </a:solidFill>
              </a:rPr>
              <a:pPr/>
              <a:t>9/7/2018</a:t>
            </a:fld>
            <a:endParaRPr lang="en-US" dirty="0">
              <a:solidFill>
                <a:srgbClr val="000000"/>
              </a:solidFill>
            </a:endParaRPr>
          </a:p>
        </p:txBody>
      </p:sp>
      <p:pic>
        <p:nvPicPr>
          <p:cNvPr id="1034" name="Picture 2" descr="File:MBTA.svg"/>
          <p:cNvPicPr>
            <a:picLocks noChangeAspect="1" noChangeArrowheads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139113" y="222250"/>
            <a:ext cx="711200" cy="711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TextBox 9"/>
          <p:cNvSpPr txBox="1">
            <a:spLocks noChangeArrowheads="1"/>
          </p:cNvSpPr>
          <p:nvPr userDrawn="1"/>
        </p:nvSpPr>
        <p:spPr bwMode="auto">
          <a:xfrm>
            <a:off x="3265488" y="6283325"/>
            <a:ext cx="2613025" cy="215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defRPr/>
            </a:pPr>
            <a:r>
              <a:rPr lang="en-US" sz="800" dirty="0" smtClean="0"/>
              <a:t>For Discussion &amp; Policy Purposes Only</a:t>
            </a:r>
          </a:p>
        </p:txBody>
      </p:sp>
    </p:spTree>
    <p:extLst>
      <p:ext uri="{BB962C8B-B14F-4D97-AF65-F5344CB8AC3E}">
        <p14:creationId xmlns:p14="http://schemas.microsoft.com/office/powerpoint/2010/main" val="195791489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9" r:id="rId1"/>
    <p:sldLayoutId id="2147483700" r:id="rId2"/>
    <p:sldLayoutId id="2147483701" r:id="rId3"/>
    <p:sldLayoutId id="2147483702" r:id="rId4"/>
  </p:sldLayoutIdLst>
  <p:timing>
    <p:tnLst>
      <p:par>
        <p:cTn id="1" dur="indefinite" restart="never" nodeType="tmRoot"/>
      </p:par>
    </p:tnLst>
  </p:timing>
  <p:hf hd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33CC"/>
          </a:solidFill>
          <a:latin typeface="Calibri" panose="020F0502020204030204" pitchFamily="34" charset="0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33CC"/>
          </a:solidFill>
          <a:latin typeface="Calibri" panose="020F0502020204030204" pitchFamily="34" charset="0"/>
          <a:cs typeface="Arial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33CC"/>
          </a:solidFill>
          <a:latin typeface="Calibri" panose="020F0502020204030204" pitchFamily="34" charset="0"/>
          <a:cs typeface="Arial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33CC"/>
          </a:solidFill>
          <a:latin typeface="Calibri" panose="020F0502020204030204" pitchFamily="34" charset="0"/>
          <a:cs typeface="Arial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33CC"/>
          </a:solidFill>
          <a:latin typeface="Calibri" panose="020F0502020204030204" pitchFamily="34" charset="0"/>
          <a:cs typeface="Arial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Verdana" pitchFamily="34" charset="0"/>
          <a:cs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Verdana" pitchFamily="34" charset="0"/>
          <a:cs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Verdana" pitchFamily="34" charset="0"/>
          <a:cs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Verdana" pitchFamily="34" charset="0"/>
          <a:cs typeface="Arial" charset="0"/>
        </a:defRPr>
      </a:lvl9pPr>
    </p:titleStyle>
    <p:bodyStyle>
      <a:lvl1pPr marL="228600" indent="-228600" algn="l" rtl="0" eaLnBrk="1" fontAlgn="base" hangingPunct="1">
        <a:spcBef>
          <a:spcPct val="100000"/>
        </a:spcBef>
        <a:spcAft>
          <a:spcPct val="0"/>
        </a:spcAft>
        <a:buClr>
          <a:srgbClr val="0033CC"/>
        </a:buClr>
        <a:buChar char="•"/>
        <a:defRPr sz="2400" b="1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1pPr>
      <a:lvl2pPr marL="576263" indent="-233363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Font typeface="Arial" charset="0"/>
        <a:buChar char="–"/>
        <a:defRPr sz="2000">
          <a:solidFill>
            <a:schemeClr val="tx1"/>
          </a:solidFill>
          <a:latin typeface="Calibri" panose="020F0502020204030204" pitchFamily="34" charset="0"/>
          <a:cs typeface="+mn-cs"/>
        </a:defRPr>
      </a:lvl2pPr>
      <a:lvl3pPr marL="914400" indent="-223838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•"/>
        <a:defRPr sz="2000">
          <a:solidFill>
            <a:schemeClr val="tx1"/>
          </a:solidFill>
          <a:latin typeface="Calibri" panose="020F0502020204030204" pitchFamily="34" charset="0"/>
          <a:cs typeface="+mn-cs"/>
        </a:defRPr>
      </a:lvl3pPr>
      <a:lvl4pPr marL="1262063" indent="-233363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–"/>
        <a:defRPr sz="2000">
          <a:solidFill>
            <a:schemeClr val="tx1"/>
          </a:solidFill>
          <a:latin typeface="Calibri" panose="020F0502020204030204" pitchFamily="34" charset="0"/>
          <a:cs typeface="+mn-cs"/>
        </a:defRPr>
      </a:lvl4pPr>
      <a:lvl5pPr marL="1600200" indent="-223838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Calibri" panose="020F0502020204030204" pitchFamily="34" charset="0"/>
          <a:cs typeface="+mn-cs"/>
        </a:defRPr>
      </a:lvl5pPr>
      <a:lvl6pPr marL="2057400" indent="-223838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514600" indent="-223838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2971800" indent="-223838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429000" indent="-223838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7" name="Straight Connector 26"/>
          <p:cNvCxnSpPr/>
          <p:nvPr/>
        </p:nvCxnSpPr>
        <p:spPr>
          <a:xfrm>
            <a:off x="447675" y="720725"/>
            <a:ext cx="7499350" cy="0"/>
          </a:xfrm>
          <a:prstGeom prst="line">
            <a:avLst/>
          </a:prstGeom>
          <a:ln w="12700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/>
          <p:cNvCxnSpPr/>
          <p:nvPr/>
        </p:nvCxnSpPr>
        <p:spPr>
          <a:xfrm>
            <a:off x="447675" y="1325563"/>
            <a:ext cx="8321675" cy="0"/>
          </a:xfrm>
          <a:prstGeom prst="line">
            <a:avLst/>
          </a:prstGeom>
          <a:ln w="9525">
            <a:solidFill>
              <a:schemeClr val="tx1"/>
            </a:solidFill>
            <a:prstDash val="sysDot"/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/>
          <p:cNvCxnSpPr/>
          <p:nvPr/>
        </p:nvCxnSpPr>
        <p:spPr>
          <a:xfrm>
            <a:off x="447675" y="6280150"/>
            <a:ext cx="8321675" cy="0"/>
          </a:xfrm>
          <a:prstGeom prst="line">
            <a:avLst/>
          </a:prstGeom>
          <a:ln w="9525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Slide Number Placeholder 6"/>
          <p:cNvSpPr txBox="1">
            <a:spLocks/>
          </p:cNvSpPr>
          <p:nvPr/>
        </p:nvSpPr>
        <p:spPr>
          <a:xfrm>
            <a:off x="8148638" y="6543675"/>
            <a:ext cx="762000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>
              <a:defRPr/>
            </a:pPr>
            <a:fld id="{BBE80981-3DA6-46C2-826D-0D8005ADC286}" type="slidenum">
              <a:rPr lang="en-US" altLang="en-US" sz="1000" smtClean="0">
                <a:solidFill>
                  <a:srgbClr val="000000"/>
                </a:solidFill>
              </a:rPr>
              <a:pPr algn="r">
                <a:defRPr/>
              </a:pPr>
              <a:t>‹#›</a:t>
            </a:fld>
            <a:endParaRPr lang="en-US" altLang="en-US" sz="1000" dirty="0" smtClean="0">
              <a:solidFill>
                <a:srgbClr val="000000"/>
              </a:solidFill>
            </a:endParaRPr>
          </a:p>
        </p:txBody>
      </p:sp>
      <p:sp>
        <p:nvSpPr>
          <p:cNvPr id="41" name="Content Placeholder 8"/>
          <p:cNvSpPr txBox="1">
            <a:spLocks/>
          </p:cNvSpPr>
          <p:nvPr/>
        </p:nvSpPr>
        <p:spPr>
          <a:xfrm>
            <a:off x="469900" y="1698625"/>
            <a:ext cx="8348663" cy="4438650"/>
          </a:xfrm>
          <a:prstGeom prst="rect">
            <a:avLst/>
          </a:prstGeom>
        </p:spPr>
        <p:txBody>
          <a:bodyPr/>
          <a:lstStyle>
            <a:lvl1pPr marL="342900" indent="-342900" algn="l" rtl="0" eaLnBrk="1" fontAlgn="base" hangingPunct="1">
              <a:spcBef>
                <a:spcPts val="1000"/>
              </a:spcBef>
              <a:spcAft>
                <a:spcPct val="0"/>
              </a:spcAft>
              <a:buClr>
                <a:schemeClr val="tx1"/>
              </a:buClr>
              <a:buFont typeface="+mj-lt"/>
              <a:buAutoNum type="arabicPeriod"/>
              <a:defRPr sz="1300" b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00050" indent="-1778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Font typeface="Arial" pitchFamily="34" charset="0"/>
              <a:buChar char="›"/>
              <a:defRPr sz="20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571500" indent="-17145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Font typeface="Arial" pitchFamily="34" charset="0"/>
              <a:buChar char="»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742950" indent="-17145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Font typeface="Arial" pitchFamily="34" charset="0"/>
              <a:buChar char="–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857250" indent="-1143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Char char="»"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  <a:lvl6pPr marL="20574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5146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29718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4290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>
              <a:buClr>
                <a:srgbClr val="000000"/>
              </a:buClr>
              <a:defRPr/>
            </a:pPr>
            <a:endParaRPr lang="en-US" dirty="0" smtClean="0">
              <a:solidFill>
                <a:srgbClr val="000000"/>
              </a:solidFill>
            </a:endParaRPr>
          </a:p>
        </p:txBody>
      </p:sp>
      <p:sp>
        <p:nvSpPr>
          <p:cNvPr id="18" name="Date Placeholder 1"/>
          <p:cNvSpPr>
            <a:spLocks noGrp="1"/>
          </p:cNvSpPr>
          <p:nvPr>
            <p:ph type="dt" sz="half" idx="2"/>
          </p:nvPr>
        </p:nvSpPr>
        <p:spPr>
          <a:xfrm>
            <a:off x="7200900" y="6269038"/>
            <a:ext cx="1673225" cy="155575"/>
          </a:xfrm>
          <a:prstGeom prst="rect">
            <a:avLst/>
          </a:prstGeom>
        </p:spPr>
        <p:txBody>
          <a:bodyPr/>
          <a:lstStyle>
            <a:lvl1pPr algn="r" eaLnBrk="1" hangingPunct="1">
              <a:defRPr sz="800">
                <a:latin typeface="Arial" charset="0"/>
                <a:cs typeface="+mn-cs"/>
              </a:defRPr>
            </a:lvl1pPr>
          </a:lstStyle>
          <a:p>
            <a:fld id="{1AB85839-DE7E-4765-A9A0-B3F73C84A708}" type="datetime1">
              <a:rPr lang="en-US" smtClean="0">
                <a:solidFill>
                  <a:srgbClr val="000000"/>
                </a:solidFill>
              </a:rPr>
              <a:pPr/>
              <a:t>9/7/2018</a:t>
            </a:fld>
            <a:endParaRPr lang="en-US" dirty="0">
              <a:solidFill>
                <a:srgbClr val="000000"/>
              </a:solidFill>
            </a:endParaRPr>
          </a:p>
        </p:txBody>
      </p:sp>
      <p:pic>
        <p:nvPicPr>
          <p:cNvPr id="1034" name="Picture 2" descr="File:MBTA.svg"/>
          <p:cNvPicPr>
            <a:picLocks noChangeAspect="1" noChangeArrowheads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139113" y="222250"/>
            <a:ext cx="711200" cy="711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TextBox 9"/>
          <p:cNvSpPr txBox="1">
            <a:spLocks noChangeArrowheads="1"/>
          </p:cNvSpPr>
          <p:nvPr userDrawn="1"/>
        </p:nvSpPr>
        <p:spPr bwMode="auto">
          <a:xfrm>
            <a:off x="3265488" y="6283325"/>
            <a:ext cx="2613025" cy="215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defRPr/>
            </a:pPr>
            <a:r>
              <a:rPr lang="en-US" sz="800" dirty="0" smtClean="0"/>
              <a:t>For Discussion &amp; Policy Purposes Only</a:t>
            </a:r>
          </a:p>
        </p:txBody>
      </p:sp>
    </p:spTree>
    <p:extLst>
      <p:ext uri="{BB962C8B-B14F-4D97-AF65-F5344CB8AC3E}">
        <p14:creationId xmlns:p14="http://schemas.microsoft.com/office/powerpoint/2010/main" val="26907332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4" r:id="rId1"/>
    <p:sldLayoutId id="2147483705" r:id="rId2"/>
    <p:sldLayoutId id="2147483706" r:id="rId3"/>
    <p:sldLayoutId id="2147483707" r:id="rId4"/>
  </p:sldLayoutIdLst>
  <p:timing>
    <p:tnLst>
      <p:par>
        <p:cTn id="1" dur="indefinite" restart="never" nodeType="tmRoot"/>
      </p:par>
    </p:tnLst>
  </p:timing>
  <p:hf hd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33CC"/>
          </a:solidFill>
          <a:latin typeface="Calibri" panose="020F0502020204030204" pitchFamily="34" charset="0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33CC"/>
          </a:solidFill>
          <a:latin typeface="Calibri" panose="020F0502020204030204" pitchFamily="34" charset="0"/>
          <a:cs typeface="Arial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33CC"/>
          </a:solidFill>
          <a:latin typeface="Calibri" panose="020F0502020204030204" pitchFamily="34" charset="0"/>
          <a:cs typeface="Arial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33CC"/>
          </a:solidFill>
          <a:latin typeface="Calibri" panose="020F0502020204030204" pitchFamily="34" charset="0"/>
          <a:cs typeface="Arial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33CC"/>
          </a:solidFill>
          <a:latin typeface="Calibri" panose="020F0502020204030204" pitchFamily="34" charset="0"/>
          <a:cs typeface="Arial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Verdana" pitchFamily="34" charset="0"/>
          <a:cs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Verdana" pitchFamily="34" charset="0"/>
          <a:cs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Verdana" pitchFamily="34" charset="0"/>
          <a:cs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Verdana" pitchFamily="34" charset="0"/>
          <a:cs typeface="Arial" charset="0"/>
        </a:defRPr>
      </a:lvl9pPr>
    </p:titleStyle>
    <p:bodyStyle>
      <a:lvl1pPr marL="228600" indent="-228600" algn="l" rtl="0" eaLnBrk="1" fontAlgn="base" hangingPunct="1">
        <a:spcBef>
          <a:spcPct val="100000"/>
        </a:spcBef>
        <a:spcAft>
          <a:spcPct val="0"/>
        </a:spcAft>
        <a:buClr>
          <a:srgbClr val="0033CC"/>
        </a:buClr>
        <a:buChar char="•"/>
        <a:defRPr sz="2400" b="1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1pPr>
      <a:lvl2pPr marL="576263" indent="-233363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Font typeface="Arial" charset="0"/>
        <a:buChar char="–"/>
        <a:defRPr sz="2000">
          <a:solidFill>
            <a:schemeClr val="tx1"/>
          </a:solidFill>
          <a:latin typeface="Calibri" panose="020F0502020204030204" pitchFamily="34" charset="0"/>
          <a:cs typeface="+mn-cs"/>
        </a:defRPr>
      </a:lvl2pPr>
      <a:lvl3pPr marL="914400" indent="-223838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•"/>
        <a:defRPr sz="2000">
          <a:solidFill>
            <a:schemeClr val="tx1"/>
          </a:solidFill>
          <a:latin typeface="Calibri" panose="020F0502020204030204" pitchFamily="34" charset="0"/>
          <a:cs typeface="+mn-cs"/>
        </a:defRPr>
      </a:lvl3pPr>
      <a:lvl4pPr marL="1262063" indent="-233363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–"/>
        <a:defRPr sz="2000">
          <a:solidFill>
            <a:schemeClr val="tx1"/>
          </a:solidFill>
          <a:latin typeface="Calibri" panose="020F0502020204030204" pitchFamily="34" charset="0"/>
          <a:cs typeface="+mn-cs"/>
        </a:defRPr>
      </a:lvl4pPr>
      <a:lvl5pPr marL="1600200" indent="-223838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Calibri" panose="020F0502020204030204" pitchFamily="34" charset="0"/>
          <a:cs typeface="+mn-cs"/>
        </a:defRPr>
      </a:lvl5pPr>
      <a:lvl6pPr marL="2057400" indent="-223838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514600" indent="-223838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2971800" indent="-223838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429000" indent="-223838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7" name="Straight Connector 26"/>
          <p:cNvCxnSpPr/>
          <p:nvPr/>
        </p:nvCxnSpPr>
        <p:spPr>
          <a:xfrm>
            <a:off x="447675" y="720725"/>
            <a:ext cx="7499350" cy="0"/>
          </a:xfrm>
          <a:prstGeom prst="line">
            <a:avLst/>
          </a:prstGeom>
          <a:ln w="12700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/>
          <p:cNvCxnSpPr/>
          <p:nvPr/>
        </p:nvCxnSpPr>
        <p:spPr>
          <a:xfrm>
            <a:off x="447676" y="1325563"/>
            <a:ext cx="8321675" cy="0"/>
          </a:xfrm>
          <a:prstGeom prst="line">
            <a:avLst/>
          </a:prstGeom>
          <a:ln w="9525">
            <a:solidFill>
              <a:schemeClr val="tx1"/>
            </a:solidFill>
            <a:prstDash val="sysDot"/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/>
          <p:cNvCxnSpPr/>
          <p:nvPr/>
        </p:nvCxnSpPr>
        <p:spPr>
          <a:xfrm>
            <a:off x="447676" y="6280150"/>
            <a:ext cx="8321675" cy="0"/>
          </a:xfrm>
          <a:prstGeom prst="line">
            <a:avLst/>
          </a:prstGeom>
          <a:ln w="9525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Slide Number Placeholder 6"/>
          <p:cNvSpPr txBox="1">
            <a:spLocks/>
          </p:cNvSpPr>
          <p:nvPr/>
        </p:nvSpPr>
        <p:spPr>
          <a:xfrm>
            <a:off x="8148638" y="6543675"/>
            <a:ext cx="762000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>
              <a:defRPr/>
            </a:pPr>
            <a:fld id="{BBE80981-3DA6-46C2-826D-0D8005ADC286}" type="slidenum">
              <a:rPr lang="en-US" altLang="en-US" sz="750" smtClean="0">
                <a:solidFill>
                  <a:srgbClr val="000000"/>
                </a:solidFill>
              </a:rPr>
              <a:pPr algn="r">
                <a:defRPr/>
              </a:pPr>
              <a:t>‹#›</a:t>
            </a:fld>
            <a:endParaRPr lang="en-US" altLang="en-US" sz="750" dirty="0" smtClean="0">
              <a:solidFill>
                <a:srgbClr val="000000"/>
              </a:solidFill>
            </a:endParaRPr>
          </a:p>
        </p:txBody>
      </p:sp>
      <p:sp>
        <p:nvSpPr>
          <p:cNvPr id="41" name="Content Placeholder 8"/>
          <p:cNvSpPr txBox="1">
            <a:spLocks/>
          </p:cNvSpPr>
          <p:nvPr/>
        </p:nvSpPr>
        <p:spPr>
          <a:xfrm>
            <a:off x="469901" y="1698625"/>
            <a:ext cx="8348663" cy="4438650"/>
          </a:xfrm>
          <a:prstGeom prst="rect">
            <a:avLst/>
          </a:prstGeom>
        </p:spPr>
        <p:txBody>
          <a:bodyPr/>
          <a:lstStyle>
            <a:lvl1pPr marL="342900" indent="-342900" algn="l" rtl="0" eaLnBrk="1" fontAlgn="base" hangingPunct="1">
              <a:spcBef>
                <a:spcPts val="1000"/>
              </a:spcBef>
              <a:spcAft>
                <a:spcPct val="0"/>
              </a:spcAft>
              <a:buClr>
                <a:schemeClr val="tx1"/>
              </a:buClr>
              <a:buFont typeface="+mj-lt"/>
              <a:buAutoNum type="arabicPeriod"/>
              <a:defRPr sz="1300" b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00050" indent="-1778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Font typeface="Arial" pitchFamily="34" charset="0"/>
              <a:buChar char="›"/>
              <a:defRPr sz="20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571500" indent="-17145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Font typeface="Arial" pitchFamily="34" charset="0"/>
              <a:buChar char="»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742950" indent="-17145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Font typeface="Arial" pitchFamily="34" charset="0"/>
              <a:buChar char="–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857250" indent="-1143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Char char="»"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  <a:lvl6pPr marL="20574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5146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29718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4290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>
              <a:buClr>
                <a:srgbClr val="000000"/>
              </a:buClr>
              <a:defRPr/>
            </a:pPr>
            <a:endParaRPr lang="en-US" sz="975" dirty="0" smtClean="0">
              <a:solidFill>
                <a:srgbClr val="000000"/>
              </a:solidFill>
            </a:endParaRPr>
          </a:p>
        </p:txBody>
      </p:sp>
      <p:sp>
        <p:nvSpPr>
          <p:cNvPr id="18" name="Date Placeholder 1"/>
          <p:cNvSpPr>
            <a:spLocks noGrp="1"/>
          </p:cNvSpPr>
          <p:nvPr>
            <p:ph type="dt" sz="half" idx="2"/>
          </p:nvPr>
        </p:nvSpPr>
        <p:spPr>
          <a:xfrm>
            <a:off x="7200901" y="6269040"/>
            <a:ext cx="1673225" cy="155575"/>
          </a:xfrm>
          <a:prstGeom prst="rect">
            <a:avLst/>
          </a:prstGeom>
        </p:spPr>
        <p:txBody>
          <a:bodyPr/>
          <a:lstStyle>
            <a:lvl1pPr algn="r" eaLnBrk="1" hangingPunct="1">
              <a:defRPr sz="600">
                <a:latin typeface="Arial" charset="0"/>
                <a:cs typeface="+mn-cs"/>
              </a:defRPr>
            </a:lvl1pPr>
          </a:lstStyle>
          <a:p>
            <a:fld id="{1AB85839-DE7E-4765-A9A0-B3F73C84A708}" type="datetime1">
              <a:rPr lang="en-US" smtClean="0">
                <a:solidFill>
                  <a:srgbClr val="000000"/>
                </a:solidFill>
              </a:rPr>
              <a:pPr/>
              <a:t>9/7/2018</a:t>
            </a:fld>
            <a:endParaRPr lang="en-US" dirty="0">
              <a:solidFill>
                <a:srgbClr val="000000"/>
              </a:solidFill>
            </a:endParaRPr>
          </a:p>
        </p:txBody>
      </p:sp>
      <p:pic>
        <p:nvPicPr>
          <p:cNvPr id="1034" name="Picture 2" descr="File:MBTA.svg"/>
          <p:cNvPicPr>
            <a:picLocks noChangeAspect="1" noChangeArrowheads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139114" y="222250"/>
            <a:ext cx="711200" cy="711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TextBox 9"/>
          <p:cNvSpPr txBox="1">
            <a:spLocks noChangeArrowheads="1"/>
          </p:cNvSpPr>
          <p:nvPr userDrawn="1"/>
        </p:nvSpPr>
        <p:spPr bwMode="auto">
          <a:xfrm>
            <a:off x="3265488" y="6283325"/>
            <a:ext cx="2613025" cy="215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defRPr/>
            </a:pPr>
            <a:r>
              <a:rPr lang="en-US" sz="800" dirty="0" smtClean="0"/>
              <a:t>For Discussion &amp; Policy Purposes Only</a:t>
            </a:r>
          </a:p>
        </p:txBody>
      </p:sp>
    </p:spTree>
    <p:extLst>
      <p:ext uri="{BB962C8B-B14F-4D97-AF65-F5344CB8AC3E}">
        <p14:creationId xmlns:p14="http://schemas.microsoft.com/office/powerpoint/2010/main" val="115987686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9" r:id="rId1"/>
    <p:sldLayoutId id="2147483710" r:id="rId2"/>
    <p:sldLayoutId id="2147483711" r:id="rId3"/>
    <p:sldLayoutId id="2147483712" r:id="rId4"/>
    <p:sldLayoutId id="2147483713" r:id="rId5"/>
  </p:sldLayoutIdLst>
  <p:timing>
    <p:tnLst>
      <p:par>
        <p:cTn id="1" dur="indefinite" restart="never" nodeType="tmRoot"/>
      </p:par>
    </p:tnLst>
  </p:timing>
  <p:hf hd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100" b="1">
          <a:solidFill>
            <a:srgbClr val="0033CC"/>
          </a:solidFill>
          <a:latin typeface="Calibri" panose="020F0502020204030204" pitchFamily="34" charset="0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100" b="1">
          <a:solidFill>
            <a:srgbClr val="0033CC"/>
          </a:solidFill>
          <a:latin typeface="Calibri" panose="020F0502020204030204" pitchFamily="34" charset="0"/>
          <a:cs typeface="Arial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100" b="1">
          <a:solidFill>
            <a:srgbClr val="0033CC"/>
          </a:solidFill>
          <a:latin typeface="Calibri" panose="020F0502020204030204" pitchFamily="34" charset="0"/>
          <a:cs typeface="Arial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100" b="1">
          <a:solidFill>
            <a:srgbClr val="0033CC"/>
          </a:solidFill>
          <a:latin typeface="Calibri" panose="020F0502020204030204" pitchFamily="34" charset="0"/>
          <a:cs typeface="Arial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100" b="1">
          <a:solidFill>
            <a:srgbClr val="0033CC"/>
          </a:solidFill>
          <a:latin typeface="Calibri" panose="020F0502020204030204" pitchFamily="34" charset="0"/>
          <a:cs typeface="Arial" charset="0"/>
        </a:defRPr>
      </a:lvl5pPr>
      <a:lvl6pPr marL="342900" algn="l" rtl="0" eaLnBrk="1" fontAlgn="base" hangingPunct="1">
        <a:spcBef>
          <a:spcPct val="0"/>
        </a:spcBef>
        <a:spcAft>
          <a:spcPct val="0"/>
        </a:spcAft>
        <a:defRPr sz="1800" b="1">
          <a:solidFill>
            <a:srgbClr val="0033CC"/>
          </a:solidFill>
          <a:latin typeface="Verdana" pitchFamily="34" charset="0"/>
          <a:cs typeface="Arial" charset="0"/>
        </a:defRPr>
      </a:lvl6pPr>
      <a:lvl7pPr marL="685800" algn="l" rtl="0" eaLnBrk="1" fontAlgn="base" hangingPunct="1">
        <a:spcBef>
          <a:spcPct val="0"/>
        </a:spcBef>
        <a:spcAft>
          <a:spcPct val="0"/>
        </a:spcAft>
        <a:defRPr sz="1800" b="1">
          <a:solidFill>
            <a:srgbClr val="0033CC"/>
          </a:solidFill>
          <a:latin typeface="Verdana" pitchFamily="34" charset="0"/>
          <a:cs typeface="Arial" charset="0"/>
        </a:defRPr>
      </a:lvl7pPr>
      <a:lvl8pPr marL="1028700" algn="l" rtl="0" eaLnBrk="1" fontAlgn="base" hangingPunct="1">
        <a:spcBef>
          <a:spcPct val="0"/>
        </a:spcBef>
        <a:spcAft>
          <a:spcPct val="0"/>
        </a:spcAft>
        <a:defRPr sz="1800" b="1">
          <a:solidFill>
            <a:srgbClr val="0033CC"/>
          </a:solidFill>
          <a:latin typeface="Verdana" pitchFamily="34" charset="0"/>
          <a:cs typeface="Arial" charset="0"/>
        </a:defRPr>
      </a:lvl8pPr>
      <a:lvl9pPr marL="1371600" algn="l" rtl="0" eaLnBrk="1" fontAlgn="base" hangingPunct="1">
        <a:spcBef>
          <a:spcPct val="0"/>
        </a:spcBef>
        <a:spcAft>
          <a:spcPct val="0"/>
        </a:spcAft>
        <a:defRPr sz="1800" b="1">
          <a:solidFill>
            <a:srgbClr val="0033CC"/>
          </a:solidFill>
          <a:latin typeface="Verdana" pitchFamily="34" charset="0"/>
          <a:cs typeface="Arial" charset="0"/>
        </a:defRPr>
      </a:lvl9pPr>
    </p:titleStyle>
    <p:bodyStyle>
      <a:lvl1pPr marL="171450" indent="-171450" algn="l" rtl="0" eaLnBrk="1" fontAlgn="base" hangingPunct="1">
        <a:spcBef>
          <a:spcPct val="100000"/>
        </a:spcBef>
        <a:spcAft>
          <a:spcPct val="0"/>
        </a:spcAft>
        <a:buClr>
          <a:srgbClr val="0033CC"/>
        </a:buClr>
        <a:buChar char="•"/>
        <a:defRPr sz="1800" b="1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1pPr>
      <a:lvl2pPr marL="432197" indent="-175022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Font typeface="Arial" charset="0"/>
        <a:buChar char="–"/>
        <a:defRPr sz="1500">
          <a:solidFill>
            <a:schemeClr val="tx1"/>
          </a:solidFill>
          <a:latin typeface="Calibri" panose="020F0502020204030204" pitchFamily="34" charset="0"/>
          <a:cs typeface="+mn-cs"/>
        </a:defRPr>
      </a:lvl2pPr>
      <a:lvl3pPr marL="685800" indent="-167879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•"/>
        <a:defRPr sz="1500">
          <a:solidFill>
            <a:schemeClr val="tx1"/>
          </a:solidFill>
          <a:latin typeface="Calibri" panose="020F0502020204030204" pitchFamily="34" charset="0"/>
          <a:cs typeface="+mn-cs"/>
        </a:defRPr>
      </a:lvl3pPr>
      <a:lvl4pPr marL="946547" indent="-175022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–"/>
        <a:defRPr sz="1500">
          <a:solidFill>
            <a:schemeClr val="tx1"/>
          </a:solidFill>
          <a:latin typeface="Calibri" panose="020F0502020204030204" pitchFamily="34" charset="0"/>
          <a:cs typeface="+mn-cs"/>
        </a:defRPr>
      </a:lvl4pPr>
      <a:lvl5pPr marL="1200150" indent="-167879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1500">
          <a:solidFill>
            <a:schemeClr val="tx1"/>
          </a:solidFill>
          <a:latin typeface="Calibri" panose="020F0502020204030204" pitchFamily="34" charset="0"/>
          <a:cs typeface="+mn-cs"/>
        </a:defRPr>
      </a:lvl5pPr>
      <a:lvl6pPr marL="1543050" indent="-167879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1500">
          <a:solidFill>
            <a:schemeClr val="tx1"/>
          </a:solidFill>
          <a:latin typeface="+mn-lt"/>
          <a:cs typeface="+mn-cs"/>
        </a:defRPr>
      </a:lvl6pPr>
      <a:lvl7pPr marL="1885950" indent="-167879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1500">
          <a:solidFill>
            <a:schemeClr val="tx1"/>
          </a:solidFill>
          <a:latin typeface="+mn-lt"/>
          <a:cs typeface="+mn-cs"/>
        </a:defRPr>
      </a:lvl7pPr>
      <a:lvl8pPr marL="2228850" indent="-167879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1500">
          <a:solidFill>
            <a:schemeClr val="tx1"/>
          </a:solidFill>
          <a:latin typeface="+mn-lt"/>
          <a:cs typeface="+mn-cs"/>
        </a:defRPr>
      </a:lvl8pPr>
      <a:lvl9pPr marL="2571750" indent="-167879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15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7" name="Straight Connector 26"/>
          <p:cNvCxnSpPr/>
          <p:nvPr/>
        </p:nvCxnSpPr>
        <p:spPr>
          <a:xfrm>
            <a:off x="447675" y="720725"/>
            <a:ext cx="7499350" cy="0"/>
          </a:xfrm>
          <a:prstGeom prst="line">
            <a:avLst/>
          </a:prstGeom>
          <a:ln w="12700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/>
          <p:cNvCxnSpPr/>
          <p:nvPr/>
        </p:nvCxnSpPr>
        <p:spPr>
          <a:xfrm>
            <a:off x="447676" y="1325563"/>
            <a:ext cx="8321675" cy="0"/>
          </a:xfrm>
          <a:prstGeom prst="line">
            <a:avLst/>
          </a:prstGeom>
          <a:ln w="9525">
            <a:solidFill>
              <a:schemeClr val="tx1"/>
            </a:solidFill>
            <a:prstDash val="sysDot"/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/>
          <p:cNvCxnSpPr/>
          <p:nvPr/>
        </p:nvCxnSpPr>
        <p:spPr>
          <a:xfrm>
            <a:off x="447676" y="6280150"/>
            <a:ext cx="8321675" cy="0"/>
          </a:xfrm>
          <a:prstGeom prst="line">
            <a:avLst/>
          </a:prstGeom>
          <a:ln w="9525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Slide Number Placeholder 6"/>
          <p:cNvSpPr txBox="1">
            <a:spLocks/>
          </p:cNvSpPr>
          <p:nvPr/>
        </p:nvSpPr>
        <p:spPr>
          <a:xfrm>
            <a:off x="8148638" y="6543675"/>
            <a:ext cx="762000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>
              <a:defRPr/>
            </a:pPr>
            <a:fld id="{BBE80981-3DA6-46C2-826D-0D8005ADC286}" type="slidenum">
              <a:rPr lang="en-US" altLang="en-US" sz="750" smtClean="0">
                <a:solidFill>
                  <a:srgbClr val="000000"/>
                </a:solidFill>
              </a:rPr>
              <a:pPr algn="r">
                <a:defRPr/>
              </a:pPr>
              <a:t>‹#›</a:t>
            </a:fld>
            <a:endParaRPr lang="en-US" altLang="en-US" sz="750" dirty="0" smtClean="0">
              <a:solidFill>
                <a:srgbClr val="000000"/>
              </a:solidFill>
            </a:endParaRPr>
          </a:p>
        </p:txBody>
      </p:sp>
      <p:sp>
        <p:nvSpPr>
          <p:cNvPr id="41" name="Content Placeholder 8"/>
          <p:cNvSpPr txBox="1">
            <a:spLocks/>
          </p:cNvSpPr>
          <p:nvPr/>
        </p:nvSpPr>
        <p:spPr>
          <a:xfrm>
            <a:off x="469901" y="1698625"/>
            <a:ext cx="8348663" cy="4438650"/>
          </a:xfrm>
          <a:prstGeom prst="rect">
            <a:avLst/>
          </a:prstGeom>
        </p:spPr>
        <p:txBody>
          <a:bodyPr/>
          <a:lstStyle>
            <a:lvl1pPr marL="342900" indent="-342900" algn="l" rtl="0" eaLnBrk="1" fontAlgn="base" hangingPunct="1">
              <a:spcBef>
                <a:spcPts val="1000"/>
              </a:spcBef>
              <a:spcAft>
                <a:spcPct val="0"/>
              </a:spcAft>
              <a:buClr>
                <a:schemeClr val="tx1"/>
              </a:buClr>
              <a:buFont typeface="+mj-lt"/>
              <a:buAutoNum type="arabicPeriod"/>
              <a:defRPr sz="1300" b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00050" indent="-1778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Font typeface="Arial" pitchFamily="34" charset="0"/>
              <a:buChar char="›"/>
              <a:defRPr sz="20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571500" indent="-17145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Font typeface="Arial" pitchFamily="34" charset="0"/>
              <a:buChar char="»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742950" indent="-17145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Font typeface="Arial" pitchFamily="34" charset="0"/>
              <a:buChar char="–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857250" indent="-1143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Char char="»"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  <a:lvl6pPr marL="20574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5146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29718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4290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>
              <a:buClr>
                <a:srgbClr val="000000"/>
              </a:buClr>
              <a:defRPr/>
            </a:pPr>
            <a:endParaRPr lang="en-US" sz="975" dirty="0" smtClean="0">
              <a:solidFill>
                <a:srgbClr val="000000"/>
              </a:solidFill>
            </a:endParaRPr>
          </a:p>
        </p:txBody>
      </p:sp>
      <p:sp>
        <p:nvSpPr>
          <p:cNvPr id="18" name="Date Placeholder 1"/>
          <p:cNvSpPr>
            <a:spLocks noGrp="1"/>
          </p:cNvSpPr>
          <p:nvPr>
            <p:ph type="dt" sz="half" idx="2"/>
          </p:nvPr>
        </p:nvSpPr>
        <p:spPr>
          <a:xfrm>
            <a:off x="7200901" y="6269040"/>
            <a:ext cx="1673225" cy="155575"/>
          </a:xfrm>
          <a:prstGeom prst="rect">
            <a:avLst/>
          </a:prstGeom>
        </p:spPr>
        <p:txBody>
          <a:bodyPr/>
          <a:lstStyle>
            <a:lvl1pPr algn="r" eaLnBrk="1" hangingPunct="1">
              <a:defRPr sz="600">
                <a:latin typeface="Arial" charset="0"/>
                <a:cs typeface="+mn-cs"/>
              </a:defRPr>
            </a:lvl1pPr>
          </a:lstStyle>
          <a:p>
            <a:fld id="{1AB85839-DE7E-4765-A9A0-B3F73C84A708}" type="datetime1">
              <a:rPr lang="en-US" smtClean="0">
                <a:solidFill>
                  <a:srgbClr val="000000"/>
                </a:solidFill>
              </a:rPr>
              <a:pPr/>
              <a:t>9/7/2018</a:t>
            </a:fld>
            <a:endParaRPr lang="en-US" dirty="0">
              <a:solidFill>
                <a:srgbClr val="000000"/>
              </a:solidFill>
            </a:endParaRPr>
          </a:p>
        </p:txBody>
      </p:sp>
      <p:pic>
        <p:nvPicPr>
          <p:cNvPr id="1034" name="Picture 2" descr="File:MBTA.svg"/>
          <p:cNvPicPr>
            <a:picLocks noChangeAspect="1" noChangeArrowheads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139114" y="222250"/>
            <a:ext cx="711200" cy="711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TextBox 9"/>
          <p:cNvSpPr txBox="1">
            <a:spLocks noChangeArrowheads="1"/>
          </p:cNvSpPr>
          <p:nvPr userDrawn="1"/>
        </p:nvSpPr>
        <p:spPr bwMode="auto">
          <a:xfrm>
            <a:off x="3265488" y="6283325"/>
            <a:ext cx="2613025" cy="215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defRPr/>
            </a:pPr>
            <a:r>
              <a:rPr lang="en-US" sz="800" dirty="0" smtClean="0"/>
              <a:t>For Discussion &amp; Policy Purposes Only</a:t>
            </a:r>
          </a:p>
        </p:txBody>
      </p:sp>
    </p:spTree>
    <p:extLst>
      <p:ext uri="{BB962C8B-B14F-4D97-AF65-F5344CB8AC3E}">
        <p14:creationId xmlns:p14="http://schemas.microsoft.com/office/powerpoint/2010/main" val="5476366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5" r:id="rId1"/>
    <p:sldLayoutId id="2147483716" r:id="rId2"/>
    <p:sldLayoutId id="2147483717" r:id="rId3"/>
    <p:sldLayoutId id="2147483718" r:id="rId4"/>
    <p:sldLayoutId id="2147483719" r:id="rId5"/>
  </p:sldLayoutIdLst>
  <p:timing>
    <p:tnLst>
      <p:par>
        <p:cTn id="1" dur="indefinite" restart="never" nodeType="tmRoot"/>
      </p:par>
    </p:tnLst>
  </p:timing>
  <p:hf hd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100" b="1">
          <a:solidFill>
            <a:srgbClr val="0033CC"/>
          </a:solidFill>
          <a:latin typeface="Calibri" panose="020F0502020204030204" pitchFamily="34" charset="0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100" b="1">
          <a:solidFill>
            <a:srgbClr val="0033CC"/>
          </a:solidFill>
          <a:latin typeface="Calibri" panose="020F0502020204030204" pitchFamily="34" charset="0"/>
          <a:cs typeface="Arial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100" b="1">
          <a:solidFill>
            <a:srgbClr val="0033CC"/>
          </a:solidFill>
          <a:latin typeface="Calibri" panose="020F0502020204030204" pitchFamily="34" charset="0"/>
          <a:cs typeface="Arial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100" b="1">
          <a:solidFill>
            <a:srgbClr val="0033CC"/>
          </a:solidFill>
          <a:latin typeface="Calibri" panose="020F0502020204030204" pitchFamily="34" charset="0"/>
          <a:cs typeface="Arial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100" b="1">
          <a:solidFill>
            <a:srgbClr val="0033CC"/>
          </a:solidFill>
          <a:latin typeface="Calibri" panose="020F0502020204030204" pitchFamily="34" charset="0"/>
          <a:cs typeface="Arial" charset="0"/>
        </a:defRPr>
      </a:lvl5pPr>
      <a:lvl6pPr marL="342900" algn="l" rtl="0" eaLnBrk="1" fontAlgn="base" hangingPunct="1">
        <a:spcBef>
          <a:spcPct val="0"/>
        </a:spcBef>
        <a:spcAft>
          <a:spcPct val="0"/>
        </a:spcAft>
        <a:defRPr sz="1800" b="1">
          <a:solidFill>
            <a:srgbClr val="0033CC"/>
          </a:solidFill>
          <a:latin typeface="Verdana" pitchFamily="34" charset="0"/>
          <a:cs typeface="Arial" charset="0"/>
        </a:defRPr>
      </a:lvl6pPr>
      <a:lvl7pPr marL="685800" algn="l" rtl="0" eaLnBrk="1" fontAlgn="base" hangingPunct="1">
        <a:spcBef>
          <a:spcPct val="0"/>
        </a:spcBef>
        <a:spcAft>
          <a:spcPct val="0"/>
        </a:spcAft>
        <a:defRPr sz="1800" b="1">
          <a:solidFill>
            <a:srgbClr val="0033CC"/>
          </a:solidFill>
          <a:latin typeface="Verdana" pitchFamily="34" charset="0"/>
          <a:cs typeface="Arial" charset="0"/>
        </a:defRPr>
      </a:lvl7pPr>
      <a:lvl8pPr marL="1028700" algn="l" rtl="0" eaLnBrk="1" fontAlgn="base" hangingPunct="1">
        <a:spcBef>
          <a:spcPct val="0"/>
        </a:spcBef>
        <a:spcAft>
          <a:spcPct val="0"/>
        </a:spcAft>
        <a:defRPr sz="1800" b="1">
          <a:solidFill>
            <a:srgbClr val="0033CC"/>
          </a:solidFill>
          <a:latin typeface="Verdana" pitchFamily="34" charset="0"/>
          <a:cs typeface="Arial" charset="0"/>
        </a:defRPr>
      </a:lvl8pPr>
      <a:lvl9pPr marL="1371600" algn="l" rtl="0" eaLnBrk="1" fontAlgn="base" hangingPunct="1">
        <a:spcBef>
          <a:spcPct val="0"/>
        </a:spcBef>
        <a:spcAft>
          <a:spcPct val="0"/>
        </a:spcAft>
        <a:defRPr sz="1800" b="1">
          <a:solidFill>
            <a:srgbClr val="0033CC"/>
          </a:solidFill>
          <a:latin typeface="Verdana" pitchFamily="34" charset="0"/>
          <a:cs typeface="Arial" charset="0"/>
        </a:defRPr>
      </a:lvl9pPr>
    </p:titleStyle>
    <p:bodyStyle>
      <a:lvl1pPr marL="171450" indent="-171450" algn="l" rtl="0" eaLnBrk="1" fontAlgn="base" hangingPunct="1">
        <a:spcBef>
          <a:spcPct val="100000"/>
        </a:spcBef>
        <a:spcAft>
          <a:spcPct val="0"/>
        </a:spcAft>
        <a:buClr>
          <a:srgbClr val="0033CC"/>
        </a:buClr>
        <a:buChar char="•"/>
        <a:defRPr sz="1800" b="1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1pPr>
      <a:lvl2pPr marL="432197" indent="-175022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Font typeface="Arial" charset="0"/>
        <a:buChar char="–"/>
        <a:defRPr sz="1500">
          <a:solidFill>
            <a:schemeClr val="tx1"/>
          </a:solidFill>
          <a:latin typeface="Calibri" panose="020F0502020204030204" pitchFamily="34" charset="0"/>
          <a:cs typeface="+mn-cs"/>
        </a:defRPr>
      </a:lvl2pPr>
      <a:lvl3pPr marL="685800" indent="-167879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•"/>
        <a:defRPr sz="1500">
          <a:solidFill>
            <a:schemeClr val="tx1"/>
          </a:solidFill>
          <a:latin typeface="Calibri" panose="020F0502020204030204" pitchFamily="34" charset="0"/>
          <a:cs typeface="+mn-cs"/>
        </a:defRPr>
      </a:lvl3pPr>
      <a:lvl4pPr marL="946547" indent="-175022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–"/>
        <a:defRPr sz="1500">
          <a:solidFill>
            <a:schemeClr val="tx1"/>
          </a:solidFill>
          <a:latin typeface="Calibri" panose="020F0502020204030204" pitchFamily="34" charset="0"/>
          <a:cs typeface="+mn-cs"/>
        </a:defRPr>
      </a:lvl4pPr>
      <a:lvl5pPr marL="1200150" indent="-167879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1500">
          <a:solidFill>
            <a:schemeClr val="tx1"/>
          </a:solidFill>
          <a:latin typeface="Calibri" panose="020F0502020204030204" pitchFamily="34" charset="0"/>
          <a:cs typeface="+mn-cs"/>
        </a:defRPr>
      </a:lvl5pPr>
      <a:lvl6pPr marL="1543050" indent="-167879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1500">
          <a:solidFill>
            <a:schemeClr val="tx1"/>
          </a:solidFill>
          <a:latin typeface="+mn-lt"/>
          <a:cs typeface="+mn-cs"/>
        </a:defRPr>
      </a:lvl6pPr>
      <a:lvl7pPr marL="1885950" indent="-167879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1500">
          <a:solidFill>
            <a:schemeClr val="tx1"/>
          </a:solidFill>
          <a:latin typeface="+mn-lt"/>
          <a:cs typeface="+mn-cs"/>
        </a:defRPr>
      </a:lvl7pPr>
      <a:lvl8pPr marL="2228850" indent="-167879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1500">
          <a:solidFill>
            <a:schemeClr val="tx1"/>
          </a:solidFill>
          <a:latin typeface="+mn-lt"/>
          <a:cs typeface="+mn-cs"/>
        </a:defRPr>
      </a:lvl8pPr>
      <a:lvl9pPr marL="2571750" indent="-167879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15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7" name="Straight Connector 26"/>
          <p:cNvCxnSpPr/>
          <p:nvPr/>
        </p:nvCxnSpPr>
        <p:spPr>
          <a:xfrm>
            <a:off x="447675" y="720725"/>
            <a:ext cx="7499350" cy="0"/>
          </a:xfrm>
          <a:prstGeom prst="line">
            <a:avLst/>
          </a:prstGeom>
          <a:ln w="12700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/>
          <p:cNvCxnSpPr/>
          <p:nvPr/>
        </p:nvCxnSpPr>
        <p:spPr>
          <a:xfrm>
            <a:off x="447675" y="1325563"/>
            <a:ext cx="8321675" cy="0"/>
          </a:xfrm>
          <a:prstGeom prst="line">
            <a:avLst/>
          </a:prstGeom>
          <a:ln w="9525">
            <a:solidFill>
              <a:schemeClr val="tx1"/>
            </a:solidFill>
            <a:prstDash val="sysDot"/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/>
          <p:cNvCxnSpPr/>
          <p:nvPr/>
        </p:nvCxnSpPr>
        <p:spPr>
          <a:xfrm>
            <a:off x="447675" y="6280150"/>
            <a:ext cx="8321675" cy="0"/>
          </a:xfrm>
          <a:prstGeom prst="line">
            <a:avLst/>
          </a:prstGeom>
          <a:ln w="9525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Slide Number Placeholder 6"/>
          <p:cNvSpPr txBox="1">
            <a:spLocks/>
          </p:cNvSpPr>
          <p:nvPr/>
        </p:nvSpPr>
        <p:spPr>
          <a:xfrm>
            <a:off x="8148638" y="6543675"/>
            <a:ext cx="762000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>
              <a:defRPr/>
            </a:pPr>
            <a:fld id="{BBE80981-3DA6-46C2-826D-0D8005ADC286}" type="slidenum">
              <a:rPr lang="en-US" altLang="en-US" sz="1000" smtClean="0">
                <a:solidFill>
                  <a:srgbClr val="000000"/>
                </a:solidFill>
              </a:rPr>
              <a:pPr algn="r">
                <a:defRPr/>
              </a:pPr>
              <a:t>‹#›</a:t>
            </a:fld>
            <a:endParaRPr lang="en-US" altLang="en-US" sz="1000" dirty="0" smtClean="0">
              <a:solidFill>
                <a:srgbClr val="000000"/>
              </a:solidFill>
            </a:endParaRPr>
          </a:p>
        </p:txBody>
      </p:sp>
      <p:sp>
        <p:nvSpPr>
          <p:cNvPr id="41" name="Content Placeholder 8"/>
          <p:cNvSpPr txBox="1">
            <a:spLocks/>
          </p:cNvSpPr>
          <p:nvPr/>
        </p:nvSpPr>
        <p:spPr>
          <a:xfrm>
            <a:off x="469900" y="1698625"/>
            <a:ext cx="8348663" cy="4438650"/>
          </a:xfrm>
          <a:prstGeom prst="rect">
            <a:avLst/>
          </a:prstGeom>
        </p:spPr>
        <p:txBody>
          <a:bodyPr/>
          <a:lstStyle>
            <a:lvl1pPr marL="342900" indent="-342900" algn="l" rtl="0" eaLnBrk="1" fontAlgn="base" hangingPunct="1">
              <a:spcBef>
                <a:spcPts val="1000"/>
              </a:spcBef>
              <a:spcAft>
                <a:spcPct val="0"/>
              </a:spcAft>
              <a:buClr>
                <a:schemeClr val="tx1"/>
              </a:buClr>
              <a:buFont typeface="+mj-lt"/>
              <a:buAutoNum type="arabicPeriod"/>
              <a:defRPr sz="1300" b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00050" indent="-1778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Font typeface="Arial" pitchFamily="34" charset="0"/>
              <a:buChar char="›"/>
              <a:defRPr sz="20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571500" indent="-17145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Font typeface="Arial" pitchFamily="34" charset="0"/>
              <a:buChar char="»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742950" indent="-17145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Font typeface="Arial" pitchFamily="34" charset="0"/>
              <a:buChar char="–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857250" indent="-1143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Char char="»"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  <a:lvl6pPr marL="20574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5146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29718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4290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>
              <a:buClr>
                <a:srgbClr val="000000"/>
              </a:buClr>
              <a:defRPr/>
            </a:pPr>
            <a:endParaRPr lang="en-US" dirty="0" smtClean="0">
              <a:solidFill>
                <a:srgbClr val="000000"/>
              </a:solidFill>
            </a:endParaRPr>
          </a:p>
        </p:txBody>
      </p:sp>
      <p:sp>
        <p:nvSpPr>
          <p:cNvPr id="18" name="Date Placeholder 1"/>
          <p:cNvSpPr>
            <a:spLocks noGrp="1"/>
          </p:cNvSpPr>
          <p:nvPr>
            <p:ph type="dt" sz="half" idx="2"/>
          </p:nvPr>
        </p:nvSpPr>
        <p:spPr>
          <a:xfrm>
            <a:off x="7200900" y="6269038"/>
            <a:ext cx="1673225" cy="155575"/>
          </a:xfrm>
          <a:prstGeom prst="rect">
            <a:avLst/>
          </a:prstGeom>
        </p:spPr>
        <p:txBody>
          <a:bodyPr/>
          <a:lstStyle>
            <a:lvl1pPr algn="r" eaLnBrk="1" hangingPunct="1">
              <a:defRPr sz="800">
                <a:latin typeface="Arial" charset="0"/>
                <a:cs typeface="+mn-cs"/>
              </a:defRPr>
            </a:lvl1pPr>
          </a:lstStyle>
          <a:p>
            <a:fld id="{1AB85839-DE7E-4765-A9A0-B3F73C84A708}" type="datetime1">
              <a:rPr lang="en-US" smtClean="0">
                <a:solidFill>
                  <a:srgbClr val="000000"/>
                </a:solidFill>
              </a:rPr>
              <a:pPr/>
              <a:t>9/7/2018</a:t>
            </a:fld>
            <a:endParaRPr lang="en-US" dirty="0">
              <a:solidFill>
                <a:srgbClr val="000000"/>
              </a:solidFill>
            </a:endParaRPr>
          </a:p>
        </p:txBody>
      </p:sp>
      <p:pic>
        <p:nvPicPr>
          <p:cNvPr id="1034" name="Picture 2" descr="File:MBTA.svg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8139113" y="222250"/>
            <a:ext cx="711200" cy="711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TextBox 9"/>
          <p:cNvSpPr txBox="1">
            <a:spLocks noChangeArrowheads="1"/>
          </p:cNvSpPr>
          <p:nvPr userDrawn="1"/>
        </p:nvSpPr>
        <p:spPr bwMode="auto">
          <a:xfrm>
            <a:off x="3265488" y="6283325"/>
            <a:ext cx="2613025" cy="215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defRPr/>
            </a:pPr>
            <a:r>
              <a:rPr lang="en-US" sz="800" dirty="0" smtClean="0"/>
              <a:t>For Discussion &amp; Policy Purposes Only</a:t>
            </a:r>
          </a:p>
        </p:txBody>
      </p:sp>
    </p:spTree>
    <p:extLst>
      <p:ext uri="{BB962C8B-B14F-4D97-AF65-F5344CB8AC3E}">
        <p14:creationId xmlns:p14="http://schemas.microsoft.com/office/powerpoint/2010/main" val="385378517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2" r:id="rId1"/>
    <p:sldLayoutId id="2147483723" r:id="rId2"/>
    <p:sldLayoutId id="2147483724" r:id="rId3"/>
    <p:sldLayoutId id="2147483725" r:id="rId4"/>
    <p:sldLayoutId id="2147483726" r:id="rId5"/>
  </p:sldLayoutIdLst>
  <p:timing>
    <p:tnLst>
      <p:par>
        <p:cTn id="1" dur="indefinite" restart="never" nodeType="tmRoot"/>
      </p:par>
    </p:tnLst>
  </p:timing>
  <p:hf hd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33CC"/>
          </a:solidFill>
          <a:latin typeface="Calibri" panose="020F0502020204030204" pitchFamily="34" charset="0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33CC"/>
          </a:solidFill>
          <a:latin typeface="Calibri" panose="020F0502020204030204" pitchFamily="34" charset="0"/>
          <a:cs typeface="Arial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33CC"/>
          </a:solidFill>
          <a:latin typeface="Calibri" panose="020F0502020204030204" pitchFamily="34" charset="0"/>
          <a:cs typeface="Arial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33CC"/>
          </a:solidFill>
          <a:latin typeface="Calibri" panose="020F0502020204030204" pitchFamily="34" charset="0"/>
          <a:cs typeface="Arial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33CC"/>
          </a:solidFill>
          <a:latin typeface="Calibri" panose="020F0502020204030204" pitchFamily="34" charset="0"/>
          <a:cs typeface="Arial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Verdana" pitchFamily="34" charset="0"/>
          <a:cs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Verdana" pitchFamily="34" charset="0"/>
          <a:cs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Verdana" pitchFamily="34" charset="0"/>
          <a:cs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Verdana" pitchFamily="34" charset="0"/>
          <a:cs typeface="Arial" charset="0"/>
        </a:defRPr>
      </a:lvl9pPr>
    </p:titleStyle>
    <p:bodyStyle>
      <a:lvl1pPr marL="228600" indent="-228600" algn="l" rtl="0" eaLnBrk="1" fontAlgn="base" hangingPunct="1">
        <a:spcBef>
          <a:spcPct val="100000"/>
        </a:spcBef>
        <a:spcAft>
          <a:spcPct val="0"/>
        </a:spcAft>
        <a:buClr>
          <a:srgbClr val="0033CC"/>
        </a:buClr>
        <a:buChar char="•"/>
        <a:defRPr sz="2400" b="1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1pPr>
      <a:lvl2pPr marL="576263" indent="-233363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Font typeface="Arial" charset="0"/>
        <a:buChar char="–"/>
        <a:defRPr sz="2000">
          <a:solidFill>
            <a:schemeClr val="tx1"/>
          </a:solidFill>
          <a:latin typeface="Calibri" panose="020F0502020204030204" pitchFamily="34" charset="0"/>
          <a:cs typeface="+mn-cs"/>
        </a:defRPr>
      </a:lvl2pPr>
      <a:lvl3pPr marL="914400" indent="-223838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•"/>
        <a:defRPr sz="2000">
          <a:solidFill>
            <a:schemeClr val="tx1"/>
          </a:solidFill>
          <a:latin typeface="Calibri" panose="020F0502020204030204" pitchFamily="34" charset="0"/>
          <a:cs typeface="+mn-cs"/>
        </a:defRPr>
      </a:lvl3pPr>
      <a:lvl4pPr marL="1262063" indent="-233363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–"/>
        <a:defRPr sz="2000">
          <a:solidFill>
            <a:schemeClr val="tx1"/>
          </a:solidFill>
          <a:latin typeface="Calibri" panose="020F0502020204030204" pitchFamily="34" charset="0"/>
          <a:cs typeface="+mn-cs"/>
        </a:defRPr>
      </a:lvl4pPr>
      <a:lvl5pPr marL="1600200" indent="-223838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Calibri" panose="020F0502020204030204" pitchFamily="34" charset="0"/>
          <a:cs typeface="+mn-cs"/>
        </a:defRPr>
      </a:lvl5pPr>
      <a:lvl6pPr marL="2057400" indent="-223838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514600" indent="-223838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2971800" indent="-223838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429000" indent="-223838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6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6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6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6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6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6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image" Target="../media/image9.png"/><Relationship Id="rId7" Type="http://schemas.openxmlformats.org/officeDocument/2006/relationships/image" Target="../media/image13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2.png"/><Relationship Id="rId5" Type="http://schemas.openxmlformats.org/officeDocument/2006/relationships/image" Target="../media/image11.png"/><Relationship Id="rId4" Type="http://schemas.openxmlformats.org/officeDocument/2006/relationships/image" Target="../media/image10.png"/><Relationship Id="rId9" Type="http://schemas.openxmlformats.org/officeDocument/2006/relationships/image" Target="../media/image15.pn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19.png"/><Relationship Id="rId4" Type="http://schemas.openxmlformats.org/officeDocument/2006/relationships/image" Target="../media/image18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22.png"/><Relationship Id="rId4" Type="http://schemas.openxmlformats.org/officeDocument/2006/relationships/image" Target="../media/image21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08773" y="3562709"/>
            <a:ext cx="5632704" cy="793631"/>
          </a:xfrm>
        </p:spPr>
        <p:txBody>
          <a:bodyPr/>
          <a:lstStyle/>
          <a:p>
            <a:r>
              <a:rPr lang="en-US" sz="2400" dirty="0" smtClean="0"/>
              <a:t>Transit Asset Management Program</a:t>
            </a:r>
            <a:br>
              <a:rPr lang="en-US" sz="2400" dirty="0" smtClean="0"/>
            </a:br>
            <a:r>
              <a:rPr lang="en-US" sz="2400" dirty="0"/>
              <a:t>	</a:t>
            </a:r>
            <a:r>
              <a:rPr lang="en-US" sz="2000" b="0" dirty="0" smtClean="0"/>
              <a:t>Status Update</a:t>
            </a:r>
            <a:endParaRPr lang="en-US" sz="2000" b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1208773" y="4942936"/>
            <a:ext cx="3352800" cy="762000"/>
          </a:xfrm>
        </p:spPr>
        <p:txBody>
          <a:bodyPr/>
          <a:lstStyle/>
          <a:p>
            <a:r>
              <a:rPr lang="en-US" sz="1800" dirty="0" smtClean="0"/>
              <a:t>September 10, 2018</a:t>
            </a:r>
            <a:endParaRPr lang="en-US" sz="1800" dirty="0"/>
          </a:p>
        </p:txBody>
      </p:sp>
      <p:sp>
        <p:nvSpPr>
          <p:cNvPr id="4" name="TextBox 3"/>
          <p:cNvSpPr txBox="1"/>
          <p:nvPr/>
        </p:nvSpPr>
        <p:spPr>
          <a:xfrm>
            <a:off x="8021782" y="6540919"/>
            <a:ext cx="105255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/>
            <a:r>
              <a:rPr lang="en-US" sz="1000" dirty="0" smtClean="0">
                <a:latin typeface="+mj-lt"/>
              </a:rPr>
              <a:t>Version 2.0</a:t>
            </a:r>
          </a:p>
        </p:txBody>
      </p:sp>
    </p:spTree>
    <p:extLst>
      <p:ext uri="{BB962C8B-B14F-4D97-AF65-F5344CB8AC3E}">
        <p14:creationId xmlns:p14="http://schemas.microsoft.com/office/powerpoint/2010/main" val="38643023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 txBox="1">
            <a:spLocks/>
          </p:cNvSpPr>
          <p:nvPr/>
        </p:nvSpPr>
        <p:spPr>
          <a:xfrm>
            <a:off x="462685" y="884476"/>
            <a:ext cx="8348410" cy="466344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033CC"/>
                </a:solidFill>
                <a:latin typeface="Calibri" panose="020F0502020204030204" pitchFamily="34" charset="0"/>
                <a:ea typeface="+mj-ea"/>
                <a:cs typeface="+mj-cs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033CC"/>
                </a:solidFill>
                <a:latin typeface="Calibri" panose="020F0502020204030204" pitchFamily="34" charset="0"/>
                <a:cs typeface="Arial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033CC"/>
                </a:solidFill>
                <a:latin typeface="Calibri" panose="020F0502020204030204" pitchFamily="34" charset="0"/>
                <a:cs typeface="Arial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033CC"/>
                </a:solidFill>
                <a:latin typeface="Calibri" panose="020F0502020204030204" pitchFamily="34" charset="0"/>
                <a:cs typeface="Arial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033CC"/>
                </a:solidFill>
                <a:latin typeface="Calibri" panose="020F0502020204030204" pitchFamily="34" charset="0"/>
                <a:cs typeface="Arial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33CC"/>
                </a:solidFill>
                <a:latin typeface="Verdana" pitchFamily="34" charset="0"/>
                <a:cs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33CC"/>
                </a:solidFill>
                <a:latin typeface="Verdana" pitchFamily="34" charset="0"/>
                <a:cs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33CC"/>
                </a:solidFill>
                <a:latin typeface="Verdana" pitchFamily="34" charset="0"/>
                <a:cs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33CC"/>
                </a:solidFill>
                <a:latin typeface="Verdana" pitchFamily="34" charset="0"/>
                <a:cs typeface="Arial" charset="0"/>
              </a:defRPr>
            </a:lvl9pPr>
          </a:lstStyle>
          <a:p>
            <a:r>
              <a:rPr lang="en-US" sz="1800" kern="0" dirty="0" smtClean="0">
                <a:solidFill>
                  <a:srgbClr val="00269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ederal Deliverables: Progress from February 2018</a:t>
            </a:r>
          </a:p>
        </p:txBody>
      </p:sp>
      <p:sp>
        <p:nvSpPr>
          <p:cNvPr id="7" name="Content Placeholder 2"/>
          <p:cNvSpPr txBox="1">
            <a:spLocks/>
          </p:cNvSpPr>
          <p:nvPr/>
        </p:nvSpPr>
        <p:spPr>
          <a:xfrm>
            <a:off x="462684" y="1296750"/>
            <a:ext cx="8348411" cy="4988139"/>
          </a:xfrm>
          <a:prstGeom prst="rect">
            <a:avLst/>
          </a:prstGeom>
        </p:spPr>
        <p:txBody>
          <a:bodyPr>
            <a:noAutofit/>
          </a:bodyPr>
          <a:lstStyle>
            <a:lvl1pPr marL="228600" indent="-228600" algn="l" rtl="0" eaLnBrk="1" fontAlgn="base" hangingPunct="1">
              <a:spcBef>
                <a:spcPct val="100000"/>
              </a:spcBef>
              <a:spcAft>
                <a:spcPct val="0"/>
              </a:spcAft>
              <a:buClr>
                <a:srgbClr val="0033CC"/>
              </a:buClr>
              <a:buChar char="•"/>
              <a:defRPr sz="2400" b="1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  <a:lvl2pPr marL="576263" indent="-23336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Font typeface="Arial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cs typeface="+mn-cs"/>
              </a:defRPr>
            </a:lvl2pPr>
            <a:lvl3pPr marL="9144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  <a:cs typeface="+mn-cs"/>
              </a:defRPr>
            </a:lvl3pPr>
            <a:lvl4pPr marL="1262063" indent="-23336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cs typeface="+mn-cs"/>
              </a:defRPr>
            </a:lvl4pPr>
            <a:lvl5pPr marL="16002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cs typeface="+mn-cs"/>
              </a:defRPr>
            </a:lvl5pPr>
            <a:lvl6pPr marL="20574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5146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29718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4290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500" dirty="0" smtClean="0">
                <a:solidFill>
                  <a:srgbClr val="00269E"/>
                </a:solidFill>
              </a:rPr>
              <a:t>Transit </a:t>
            </a:r>
            <a:r>
              <a:rPr lang="en-US" sz="1500" dirty="0">
                <a:solidFill>
                  <a:srgbClr val="00269E"/>
                </a:solidFill>
              </a:rPr>
              <a:t>Asset Management </a:t>
            </a:r>
            <a:r>
              <a:rPr lang="en-US" sz="1500" dirty="0" smtClean="0">
                <a:solidFill>
                  <a:srgbClr val="00269E"/>
                </a:solidFill>
              </a:rPr>
              <a:t>Plan and Improvement Plan</a:t>
            </a:r>
          </a:p>
          <a:p>
            <a:r>
              <a:rPr lang="en-US" sz="1400" b="0" kern="0" dirty="0"/>
              <a:t>MBTA Asset Management maturity level benchmarked against global standard </a:t>
            </a:r>
          </a:p>
          <a:p>
            <a:pPr>
              <a:spcBef>
                <a:spcPts val="1000"/>
              </a:spcBef>
            </a:pPr>
            <a:r>
              <a:rPr lang="en-US" sz="1400" b="0" kern="0" dirty="0" smtClean="0"/>
              <a:t>155</a:t>
            </a:r>
            <a:r>
              <a:rPr lang="en-US" sz="1400" b="0" kern="0" dirty="0"/>
              <a:t>+ participants, 23+ departments </a:t>
            </a:r>
          </a:p>
          <a:p>
            <a:pPr>
              <a:spcBef>
                <a:spcPts val="1000"/>
              </a:spcBef>
            </a:pPr>
            <a:r>
              <a:rPr lang="en-US" sz="1400" b="0" kern="0" dirty="0"/>
              <a:t>50+ meetings, workshops, Subject Matter Expert interviews </a:t>
            </a:r>
          </a:p>
          <a:p>
            <a:pPr marL="685800" lvl="1" indent="-285750"/>
            <a:r>
              <a:rPr lang="en-US" sz="1400" dirty="0" smtClean="0"/>
              <a:t>Identify </a:t>
            </a:r>
            <a:r>
              <a:rPr lang="en-US" sz="1400" dirty="0"/>
              <a:t>existing and proposed levels of service to be achieved</a:t>
            </a:r>
          </a:p>
          <a:p>
            <a:pPr marL="685800" lvl="1" indent="-285750"/>
            <a:r>
              <a:rPr lang="en-US" sz="1400" dirty="0"/>
              <a:t>Identify Life Cycle Management needs by asset class</a:t>
            </a:r>
          </a:p>
          <a:p>
            <a:pPr marL="685800" lvl="1" indent="-285750"/>
            <a:r>
              <a:rPr lang="en-US" sz="1400" dirty="0"/>
              <a:t>Assess financial needs and resources required to support safe and reliable service delivery and bring assets into a State of Good Repair.</a:t>
            </a:r>
          </a:p>
          <a:p>
            <a:pPr marL="685800" lvl="1" indent="-285750"/>
            <a:r>
              <a:rPr lang="en-US" sz="1400" dirty="0"/>
              <a:t>Document current key processes, organizational architecture, and tools for effective Asset Management</a:t>
            </a:r>
          </a:p>
          <a:p>
            <a:pPr marL="685800" lvl="1" indent="-285750"/>
            <a:r>
              <a:rPr lang="en-US" sz="1400" dirty="0"/>
              <a:t>Establish action plans for improving the approach to asset management activities </a:t>
            </a:r>
          </a:p>
          <a:p>
            <a:pPr marL="0" indent="0">
              <a:spcBef>
                <a:spcPts val="1000"/>
              </a:spcBef>
              <a:buNone/>
            </a:pPr>
            <a:r>
              <a:rPr lang="en-US" sz="1600" kern="0" dirty="0" smtClean="0">
                <a:solidFill>
                  <a:srgbClr val="00269E"/>
                </a:solidFill>
              </a:rPr>
              <a:t>2019 </a:t>
            </a:r>
            <a:r>
              <a:rPr lang="en-US" sz="1600" kern="0" dirty="0">
                <a:solidFill>
                  <a:srgbClr val="00269E"/>
                </a:solidFill>
              </a:rPr>
              <a:t>Performance Targets</a:t>
            </a:r>
          </a:p>
          <a:p>
            <a:pPr>
              <a:spcBef>
                <a:spcPts val="1000"/>
              </a:spcBef>
            </a:pPr>
            <a:r>
              <a:rPr lang="en-US" sz="1400" b="0" kern="0" dirty="0"/>
              <a:t>Led by Capital Program Oversight</a:t>
            </a:r>
          </a:p>
          <a:p>
            <a:pPr>
              <a:spcBef>
                <a:spcPts val="1000"/>
              </a:spcBef>
            </a:pPr>
            <a:r>
              <a:rPr lang="en-US" sz="1400" b="0" kern="0" dirty="0"/>
              <a:t>Initial targets established FY18</a:t>
            </a:r>
          </a:p>
          <a:p>
            <a:pPr>
              <a:spcBef>
                <a:spcPts val="1000"/>
              </a:spcBef>
            </a:pPr>
            <a:r>
              <a:rPr lang="en-US" sz="1400" b="0" kern="0" dirty="0"/>
              <a:t>Workshops with asset owners to validate Useful Life Benchmarks (ULB)</a:t>
            </a:r>
          </a:p>
          <a:p>
            <a:pPr marL="400050" lvl="1" indent="0">
              <a:buNone/>
            </a:pPr>
            <a:endParaRPr lang="en-US" sz="1400" dirty="0"/>
          </a:p>
          <a:p>
            <a:pPr marL="0" indent="0">
              <a:spcBef>
                <a:spcPts val="1000"/>
              </a:spcBef>
              <a:buNone/>
            </a:pPr>
            <a:endParaRPr lang="en-US" sz="1400" b="0" kern="0" dirty="0" smtClean="0"/>
          </a:p>
        </p:txBody>
      </p:sp>
      <p:sp>
        <p:nvSpPr>
          <p:cNvPr id="16" name="Text Placeholder 2"/>
          <p:cNvSpPr>
            <a:spLocks noGrp="1"/>
          </p:cNvSpPr>
          <p:nvPr>
            <p:ph type="body" sz="quarter" idx="4294967295"/>
          </p:nvPr>
        </p:nvSpPr>
        <p:spPr>
          <a:xfrm>
            <a:off x="462684" y="381000"/>
            <a:ext cx="7309716" cy="228600"/>
          </a:xfrm>
          <a:prstGeom prst="rect">
            <a:avLst/>
          </a:prstGeom>
        </p:spPr>
        <p:txBody>
          <a:bodyPr/>
          <a:lstStyle/>
          <a:p>
            <a:pPr>
              <a:spcBef>
                <a:spcPct val="0"/>
              </a:spcBef>
              <a:buNone/>
            </a:pPr>
            <a:r>
              <a:rPr lang="en-US" sz="1100" dirty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rPr>
              <a:t>Transit Asset Management</a:t>
            </a:r>
          </a:p>
        </p:txBody>
      </p:sp>
    </p:spTree>
    <p:extLst>
      <p:ext uri="{BB962C8B-B14F-4D97-AF65-F5344CB8AC3E}">
        <p14:creationId xmlns:p14="http://schemas.microsoft.com/office/powerpoint/2010/main" val="2574708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 txBox="1">
            <a:spLocks/>
          </p:cNvSpPr>
          <p:nvPr/>
        </p:nvSpPr>
        <p:spPr>
          <a:xfrm>
            <a:off x="462684" y="884476"/>
            <a:ext cx="7977320" cy="466344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033CC"/>
                </a:solidFill>
                <a:latin typeface="Calibri" panose="020F0502020204030204" pitchFamily="34" charset="0"/>
                <a:ea typeface="+mj-ea"/>
                <a:cs typeface="+mj-cs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033CC"/>
                </a:solidFill>
                <a:latin typeface="Calibri" panose="020F0502020204030204" pitchFamily="34" charset="0"/>
                <a:cs typeface="Arial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033CC"/>
                </a:solidFill>
                <a:latin typeface="Calibri" panose="020F0502020204030204" pitchFamily="34" charset="0"/>
                <a:cs typeface="Arial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033CC"/>
                </a:solidFill>
                <a:latin typeface="Calibri" panose="020F0502020204030204" pitchFamily="34" charset="0"/>
                <a:cs typeface="Arial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033CC"/>
                </a:solidFill>
                <a:latin typeface="Calibri" panose="020F0502020204030204" pitchFamily="34" charset="0"/>
                <a:cs typeface="Arial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33CC"/>
                </a:solidFill>
                <a:latin typeface="Verdana" pitchFamily="34" charset="0"/>
                <a:cs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33CC"/>
                </a:solidFill>
                <a:latin typeface="Verdana" pitchFamily="34" charset="0"/>
                <a:cs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33CC"/>
                </a:solidFill>
                <a:latin typeface="Verdana" pitchFamily="34" charset="0"/>
                <a:cs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33CC"/>
                </a:solidFill>
                <a:latin typeface="Verdana" pitchFamily="34" charset="0"/>
                <a:cs typeface="Arial" charset="0"/>
              </a:defRPr>
            </a:lvl9pPr>
          </a:lstStyle>
          <a:p>
            <a:r>
              <a:rPr lang="en-US" sz="1800" kern="0" dirty="0" smtClean="0">
                <a:solidFill>
                  <a:srgbClr val="00269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BTA Asset Management Initiatives: FY19 Performance Targets </a:t>
            </a:r>
            <a:endParaRPr lang="en-US" sz="1800" kern="0" dirty="0">
              <a:solidFill>
                <a:srgbClr val="00269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4294967295"/>
          </p:nvPr>
        </p:nvSpPr>
        <p:spPr>
          <a:xfrm>
            <a:off x="462684" y="381000"/>
            <a:ext cx="7309716" cy="228600"/>
          </a:xfrm>
          <a:prstGeom prst="rect">
            <a:avLst/>
          </a:prstGeom>
        </p:spPr>
        <p:txBody>
          <a:bodyPr/>
          <a:lstStyle/>
          <a:p>
            <a:pPr>
              <a:spcBef>
                <a:spcPct val="0"/>
              </a:spcBef>
              <a:buNone/>
            </a:pPr>
            <a:r>
              <a:rPr lang="en-US" sz="1100" dirty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rPr>
              <a:t>Transit Asset Management</a:t>
            </a:r>
          </a:p>
        </p:txBody>
      </p:sp>
      <p:grpSp>
        <p:nvGrpSpPr>
          <p:cNvPr id="7" name="Group 6"/>
          <p:cNvGrpSpPr/>
          <p:nvPr/>
        </p:nvGrpSpPr>
        <p:grpSpPr>
          <a:xfrm>
            <a:off x="603634" y="1339149"/>
            <a:ext cx="7695420" cy="1686256"/>
            <a:chOff x="546152" y="739530"/>
            <a:chExt cx="8002466" cy="2561480"/>
          </a:xfrm>
        </p:grpSpPr>
        <p:graphicFrame>
          <p:nvGraphicFramePr>
            <p:cNvPr id="9" name="Content Placeholder 3"/>
            <p:cNvGraphicFramePr>
              <a:graphicFrameLocks/>
            </p:cNvGraphicFramePr>
            <p:nvPr>
              <p:extLst>
                <p:ext uri="{D42A27DB-BD31-4B8C-83A1-F6EECF244321}">
                  <p14:modId xmlns:p14="http://schemas.microsoft.com/office/powerpoint/2010/main" val="2215001193"/>
                </p:ext>
              </p:extLst>
            </p:nvPr>
          </p:nvGraphicFramePr>
          <p:xfrm>
            <a:off x="546152" y="1370167"/>
            <a:ext cx="8002466" cy="1076277"/>
          </p:xfrm>
          <a:graphic>
            <a:graphicData uri="http://schemas.openxmlformats.org/drawingml/2006/diagram">
              <dgm:relIds xmlns:dgm="http://schemas.openxmlformats.org/drawingml/2006/diagram" xmlns:r="http://schemas.openxmlformats.org/officeDocument/2006/relationships" r:dm="rId2" r:lo="rId3" r:qs="rId4" r:cs="rId5"/>
            </a:graphicData>
          </a:graphic>
        </p:graphicFrame>
        <p:sp>
          <p:nvSpPr>
            <p:cNvPr id="11" name="TextBox 10"/>
            <p:cNvSpPr txBox="1"/>
            <p:nvPr/>
          </p:nvSpPr>
          <p:spPr>
            <a:xfrm>
              <a:off x="696480" y="739530"/>
              <a:ext cx="3625310" cy="56102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 smtClean="0"/>
                <a:t>FY19 - Performance Targets</a:t>
              </a:r>
              <a:endParaRPr lang="en-US" dirty="0"/>
            </a:p>
          </p:txBody>
        </p:sp>
        <p:sp>
          <p:nvSpPr>
            <p:cNvPr id="17" name="5-Point Star 16"/>
            <p:cNvSpPr/>
            <p:nvPr/>
          </p:nvSpPr>
          <p:spPr>
            <a:xfrm>
              <a:off x="6706101" y="2302862"/>
              <a:ext cx="162429" cy="181824"/>
            </a:xfrm>
            <a:prstGeom prst="star5">
              <a:avLst/>
            </a:prstGeom>
            <a:solidFill>
              <a:srgbClr val="FF0000"/>
            </a:solidFill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2" name="TextBox 21"/>
            <p:cNvSpPr txBox="1"/>
            <p:nvPr/>
          </p:nvSpPr>
          <p:spPr>
            <a:xfrm>
              <a:off x="6029590" y="2558894"/>
              <a:ext cx="1515450" cy="74211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900" dirty="0" smtClean="0"/>
                <a:t>10/1/18</a:t>
              </a:r>
            </a:p>
            <a:p>
              <a:pPr algn="ctr"/>
              <a:r>
                <a:rPr lang="en-US" sz="900" dirty="0" smtClean="0"/>
                <a:t>Targets due for NTD entry</a:t>
              </a:r>
              <a:endParaRPr lang="en-US" sz="900" dirty="0"/>
            </a:p>
          </p:txBody>
        </p:sp>
      </p:grpSp>
      <p:graphicFrame>
        <p:nvGraphicFramePr>
          <p:cNvPr id="15" name="Table 1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43133937"/>
              </p:ext>
            </p:extLst>
          </p:nvPr>
        </p:nvGraphicFramePr>
        <p:xfrm>
          <a:off x="748194" y="3627815"/>
          <a:ext cx="7844066" cy="260837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5839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14830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11186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416589"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sset Category</a:t>
                      </a: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AA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easure</a:t>
                      </a:r>
                      <a:endParaRPr lang="en-US" sz="140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AA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easure Type</a:t>
                      </a:r>
                      <a:endParaRPr lang="en-US" sz="140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AA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06228">
                <a:tc>
                  <a:txBody>
                    <a:bodyPr/>
                    <a:lstStyle/>
                    <a:p>
                      <a:r>
                        <a:rPr lang="en-US" sz="15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Equipment</a:t>
                      </a:r>
                      <a:endParaRPr lang="en-US" sz="15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28575" cap="flat" cmpd="sng" algn="ctr">
                      <a:solidFill>
                        <a:srgbClr val="B0A27D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28575" cap="flat" cmpd="sng" algn="ctr">
                      <a:solidFill>
                        <a:srgbClr val="B0A27D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Percentage of vehicles that have met or exceeded their Useful Life Benchmark</a:t>
                      </a:r>
                      <a:endParaRPr lang="en-US" sz="14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34290" marB="34290" anchor="ctr">
                    <a:lnL w="28575" cap="flat" cmpd="sng" algn="ctr">
                      <a:solidFill>
                        <a:srgbClr val="B0A27D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B0A27D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28575" cap="flat" cmpd="sng" algn="ctr">
                      <a:solidFill>
                        <a:srgbClr val="B0A27D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Age-based</a:t>
                      </a:r>
                      <a:endParaRPr lang="en-US" sz="140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34290" marB="34290" anchor="ctr">
                    <a:lnL w="28575" cap="flat" cmpd="sng" algn="ctr">
                      <a:solidFill>
                        <a:srgbClr val="B0A27D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28575" cap="flat" cmpd="sng" algn="ctr">
                      <a:solidFill>
                        <a:srgbClr val="B0A27D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595127">
                <a:tc>
                  <a:txBody>
                    <a:bodyPr/>
                    <a:lstStyle/>
                    <a:p>
                      <a:pPr marL="0" algn="l" defTabSz="457200" rtl="0" eaLnBrk="1" latinLnBrk="0" hangingPunct="1"/>
                      <a:r>
                        <a:rPr lang="en-US" sz="1400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Rolling Stock</a:t>
                      </a: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28575" cap="flat" cmpd="sng" algn="ctr">
                      <a:solidFill>
                        <a:srgbClr val="B0A27D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B0A27D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B0A27D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Percentage of revenue vehicles that have met or exceeded their Useful Life Benchmark </a:t>
                      </a:r>
                      <a:endParaRPr lang="en-US" sz="1400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68580" marR="68580" marT="34290" marB="34290" anchor="ctr">
                    <a:lnL w="28575" cap="flat" cmpd="sng" algn="ctr">
                      <a:solidFill>
                        <a:srgbClr val="B0A27D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B0A27D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B0A27D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B0A27D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Age-based</a:t>
                      </a:r>
                      <a:endParaRPr lang="en-US" sz="140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34290" marB="34290" anchor="ctr">
                    <a:lnL w="28575" cap="flat" cmpd="sng" algn="ctr">
                      <a:solidFill>
                        <a:srgbClr val="B0A27D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28575" cap="flat" cmpd="sng" algn="ctr">
                      <a:solidFill>
                        <a:srgbClr val="B0A27D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B0A27D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86018"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Facilities</a:t>
                      </a:r>
                      <a:endParaRPr lang="en-US" sz="1400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28575" cap="flat" cmpd="sng" algn="ctr">
                      <a:solidFill>
                        <a:srgbClr val="B0A27D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B0A27D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B0A27D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Percentage of assets with condition rating below 3.0 on FTA TERM scale </a:t>
                      </a:r>
                      <a:endParaRPr lang="en-US" sz="1400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68580" marR="68580" marT="34290" marB="34290" anchor="ctr">
                    <a:lnL w="28575" cap="flat" cmpd="sng" algn="ctr">
                      <a:solidFill>
                        <a:srgbClr val="B0A27D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B0A27D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B0A27D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B0A27D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Condition-based</a:t>
                      </a:r>
                      <a:endParaRPr lang="en-US" sz="1400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68580" marR="68580" marT="34290" marB="34290" anchor="ctr">
                    <a:lnL w="28575" cap="flat" cmpd="sng" algn="ctr">
                      <a:solidFill>
                        <a:srgbClr val="B0A27D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28575" cap="flat" cmpd="sng" algn="ctr">
                      <a:solidFill>
                        <a:srgbClr val="B0A27D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B0A27D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595127">
                <a:tc>
                  <a:txBody>
                    <a:bodyPr/>
                    <a:lstStyle/>
                    <a:p>
                      <a:r>
                        <a:rPr lang="en-US" sz="1400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Infrastructure [Fixed Guideway]</a:t>
                      </a:r>
                      <a:endParaRPr lang="en-US" sz="1400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28575" cap="flat" cmpd="sng" algn="ctr">
                      <a:solidFill>
                        <a:srgbClr val="B0A27D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B0A27D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B0A27D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Percentage of track segments with performance [speed] restrictions, by mode </a:t>
                      </a:r>
                      <a:endParaRPr lang="en-US" sz="14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34290" marB="34290" anchor="ctr">
                    <a:lnL w="28575" cap="flat" cmpd="sng" algn="ctr">
                      <a:solidFill>
                        <a:srgbClr val="B0A27D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B0A27D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B0A27D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B0A27D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erformance-based</a:t>
                      </a:r>
                      <a:endParaRPr lang="en-US" sz="14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34290" marB="34290" anchor="ctr">
                    <a:lnL w="28575" cap="flat" cmpd="sng" algn="ctr">
                      <a:solidFill>
                        <a:srgbClr val="B0A27D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28575" cap="flat" cmpd="sng" algn="ctr">
                      <a:solidFill>
                        <a:srgbClr val="B0A27D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B0A27D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3" name="TextBox 2"/>
          <p:cNvSpPr txBox="1"/>
          <p:nvPr/>
        </p:nvSpPr>
        <p:spPr>
          <a:xfrm>
            <a:off x="462684" y="2938835"/>
            <a:ext cx="326690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1200" dirty="0" smtClean="0">
                <a:latin typeface="+mj-lt"/>
              </a:rPr>
              <a:t>Led by Capital Program Oversight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1200" dirty="0" smtClean="0">
                <a:latin typeface="+mj-lt"/>
              </a:rPr>
              <a:t>Aligned to CIP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1200" dirty="0" smtClean="0">
                <a:latin typeface="+mj-lt"/>
              </a:rPr>
              <a:t>Rolling Stock Completed</a:t>
            </a:r>
          </a:p>
        </p:txBody>
      </p:sp>
      <p:sp>
        <p:nvSpPr>
          <p:cNvPr id="23" name="5-Point Star 22"/>
          <p:cNvSpPr/>
          <p:nvPr/>
        </p:nvSpPr>
        <p:spPr>
          <a:xfrm>
            <a:off x="934064" y="2358306"/>
            <a:ext cx="156197" cy="119697"/>
          </a:xfrm>
          <a:prstGeom prst="star5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5" name="TextBox 24"/>
          <p:cNvSpPr txBox="1"/>
          <p:nvPr/>
        </p:nvSpPr>
        <p:spPr>
          <a:xfrm>
            <a:off x="283510" y="2526855"/>
            <a:ext cx="145730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900" dirty="0" smtClean="0"/>
              <a:t>06/10/18</a:t>
            </a:r>
          </a:p>
          <a:p>
            <a:pPr algn="ctr"/>
            <a:r>
              <a:rPr lang="en-US" sz="900" dirty="0" smtClean="0"/>
              <a:t>FY19 CIP Approved</a:t>
            </a:r>
            <a:endParaRPr lang="en-US" sz="900" dirty="0"/>
          </a:p>
        </p:txBody>
      </p:sp>
    </p:spTree>
    <p:extLst>
      <p:ext uri="{BB962C8B-B14F-4D97-AF65-F5344CB8AC3E}">
        <p14:creationId xmlns:p14="http://schemas.microsoft.com/office/powerpoint/2010/main" val="29502161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sz="quarter" idx="16"/>
          </p:nvPr>
        </p:nvSpPr>
        <p:spPr>
          <a:xfrm>
            <a:off x="470001" y="1440254"/>
            <a:ext cx="8339148" cy="4870393"/>
          </a:xfrm>
        </p:spPr>
        <p:txBody>
          <a:bodyPr/>
          <a:lstStyle/>
          <a:p>
            <a:r>
              <a:rPr lang="en-US" sz="1600" b="1" dirty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ransit Asset Management Plan (TAMP)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ovide draft TAMP to Asset Management Governance Board for review and comment, and update </a:t>
            </a:r>
            <a:endParaRPr lang="en-US" sz="16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ovide draft TAMP to FMCB for review, comment and update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ertify and submit TAMP </a:t>
            </a:r>
          </a:p>
          <a:p>
            <a:r>
              <a:rPr lang="en-US" sz="1600" b="1" dirty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sset Inventory Module (AIM)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hase 1 data inventory and condition submitted August 31</a:t>
            </a:r>
            <a:r>
              <a:rPr lang="en-US" sz="1600" baseline="30000" dirty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t</a:t>
            </a:r>
            <a:r>
              <a:rPr lang="en-US" sz="16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600" dirty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o the MBT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ubmit to National Transit Database (NTD) and update Enterprise Asset Management Systems (EAMS) and State of Good Repair Database (SGR Database) from September to end of Octobe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mmence 2019 data collection and validation phase 2 task order process August/September </a:t>
            </a:r>
          </a:p>
          <a:p>
            <a:r>
              <a:rPr lang="en-US" sz="1600" b="1" dirty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erformance Targets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mplete Track, Vehicles and Facilities metrics</a:t>
            </a:r>
          </a:p>
          <a:p>
            <a:r>
              <a:rPr lang="en-US" sz="1600" dirty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     Update </a:t>
            </a:r>
            <a:r>
              <a:rPr lang="en-US" sz="1600" dirty="0" err="1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assDOT</a:t>
            </a:r>
            <a:r>
              <a:rPr lang="en-US" sz="1600" dirty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Tracker and PAMAC reports with data and progress</a:t>
            </a:r>
            <a:endParaRPr lang="en-US" sz="16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470001" y="847367"/>
            <a:ext cx="7751547" cy="355121"/>
          </a:xfrm>
        </p:spPr>
        <p:txBody>
          <a:bodyPr/>
          <a:lstStyle/>
          <a:p>
            <a:r>
              <a:rPr lang="en-US" sz="1800" dirty="0" smtClean="0"/>
              <a:t>Next Steps</a:t>
            </a:r>
            <a:endParaRPr lang="en-US" sz="1800" dirty="0"/>
          </a:p>
        </p:txBody>
      </p:sp>
      <p:sp>
        <p:nvSpPr>
          <p:cNvPr id="5" name="Text Placeholder 2"/>
          <p:cNvSpPr>
            <a:spLocks noGrp="1"/>
          </p:cNvSpPr>
          <p:nvPr>
            <p:ph type="body" sz="quarter" idx="4294967295"/>
          </p:nvPr>
        </p:nvSpPr>
        <p:spPr>
          <a:xfrm>
            <a:off x="462684" y="381000"/>
            <a:ext cx="7309716" cy="228600"/>
          </a:xfrm>
          <a:prstGeom prst="rect">
            <a:avLst/>
          </a:prstGeom>
        </p:spPr>
        <p:txBody>
          <a:bodyPr/>
          <a:lstStyle/>
          <a:p>
            <a:pPr>
              <a:spcBef>
                <a:spcPct val="0"/>
              </a:spcBef>
              <a:buNone/>
            </a:pPr>
            <a:r>
              <a:rPr lang="en-US" sz="1100" dirty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rPr>
              <a:t>Transit Asset Management</a:t>
            </a:r>
          </a:p>
        </p:txBody>
      </p:sp>
    </p:spTree>
    <p:extLst>
      <p:ext uri="{BB962C8B-B14F-4D97-AF65-F5344CB8AC3E}">
        <p14:creationId xmlns:p14="http://schemas.microsoft.com/office/powerpoint/2010/main" val="27812544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2"/>
          <p:cNvSpPr txBox="1">
            <a:spLocks/>
          </p:cNvSpPr>
          <p:nvPr/>
        </p:nvSpPr>
        <p:spPr>
          <a:xfrm>
            <a:off x="3701144" y="3280324"/>
            <a:ext cx="1733005" cy="516614"/>
          </a:xfrm>
          <a:prstGeom prst="rect">
            <a:avLst/>
          </a:prstGeom>
        </p:spPr>
        <p:txBody>
          <a:bodyPr>
            <a:noAutofit/>
          </a:bodyPr>
          <a:lstStyle>
            <a:lvl1pPr marL="228600" indent="-228600" algn="l" rtl="0" eaLnBrk="1" fontAlgn="base" hangingPunct="1">
              <a:spcBef>
                <a:spcPct val="100000"/>
              </a:spcBef>
              <a:spcAft>
                <a:spcPct val="0"/>
              </a:spcAft>
              <a:buClr>
                <a:srgbClr val="0033CC"/>
              </a:buClr>
              <a:buChar char="•"/>
              <a:defRPr sz="2400" b="1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  <a:lvl2pPr marL="576263" indent="-23336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Font typeface="Arial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cs typeface="+mn-cs"/>
              </a:defRPr>
            </a:lvl2pPr>
            <a:lvl3pPr marL="9144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  <a:cs typeface="+mn-cs"/>
              </a:defRPr>
            </a:lvl3pPr>
            <a:lvl4pPr marL="1262063" indent="-23336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cs typeface="+mn-cs"/>
              </a:defRPr>
            </a:lvl4pPr>
            <a:lvl5pPr marL="16002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cs typeface="+mn-cs"/>
              </a:defRPr>
            </a:lvl5pPr>
            <a:lvl6pPr marL="20574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5146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29718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4290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>
              <a:buFontTx/>
              <a:buNone/>
            </a:pPr>
            <a:r>
              <a:rPr lang="en-US" sz="2800" kern="0" dirty="0" smtClean="0">
                <a:solidFill>
                  <a:srgbClr val="00269E"/>
                </a:solidFill>
              </a:rPr>
              <a:t>APPENDIX</a:t>
            </a:r>
            <a:endParaRPr lang="en-US" sz="2000" b="0" kern="0" dirty="0" smtClean="0"/>
          </a:p>
        </p:txBody>
      </p:sp>
      <p:sp>
        <p:nvSpPr>
          <p:cNvPr id="16" name="Text Placeholder 2"/>
          <p:cNvSpPr>
            <a:spLocks noGrp="1"/>
          </p:cNvSpPr>
          <p:nvPr>
            <p:ph type="body" sz="quarter" idx="4294967295"/>
          </p:nvPr>
        </p:nvSpPr>
        <p:spPr>
          <a:xfrm>
            <a:off x="462684" y="381000"/>
            <a:ext cx="7309716" cy="228600"/>
          </a:xfrm>
          <a:prstGeom prst="rect">
            <a:avLst/>
          </a:prstGeom>
        </p:spPr>
        <p:txBody>
          <a:bodyPr/>
          <a:lstStyle/>
          <a:p>
            <a:pPr>
              <a:spcBef>
                <a:spcPct val="0"/>
              </a:spcBef>
              <a:buNone/>
            </a:pPr>
            <a:r>
              <a:rPr lang="en-US" sz="1100" dirty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rPr>
              <a:t>Transit Asset Management</a:t>
            </a:r>
          </a:p>
        </p:txBody>
      </p:sp>
    </p:spTree>
    <p:extLst>
      <p:ext uri="{BB962C8B-B14F-4D97-AF65-F5344CB8AC3E}">
        <p14:creationId xmlns:p14="http://schemas.microsoft.com/office/powerpoint/2010/main" val="29915000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2"/>
          <p:cNvSpPr txBox="1">
            <a:spLocks/>
          </p:cNvSpPr>
          <p:nvPr/>
        </p:nvSpPr>
        <p:spPr>
          <a:xfrm>
            <a:off x="462684" y="846217"/>
            <a:ext cx="6774286" cy="403034"/>
          </a:xfrm>
          <a:prstGeom prst="rect">
            <a:avLst/>
          </a:prstGeom>
        </p:spPr>
        <p:txBody>
          <a:bodyPr>
            <a:noAutofit/>
          </a:bodyPr>
          <a:lstStyle>
            <a:lvl1pPr marL="228600" indent="-228600" algn="l" rtl="0" eaLnBrk="1" fontAlgn="base" hangingPunct="1">
              <a:spcBef>
                <a:spcPct val="100000"/>
              </a:spcBef>
              <a:spcAft>
                <a:spcPct val="0"/>
              </a:spcAft>
              <a:buClr>
                <a:srgbClr val="0033CC"/>
              </a:buClr>
              <a:buChar char="•"/>
              <a:defRPr sz="2400" b="1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  <a:lvl2pPr marL="576263" indent="-23336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Font typeface="Arial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cs typeface="+mn-cs"/>
              </a:defRPr>
            </a:lvl2pPr>
            <a:lvl3pPr marL="9144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  <a:cs typeface="+mn-cs"/>
              </a:defRPr>
            </a:lvl3pPr>
            <a:lvl4pPr marL="1262063" indent="-23336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cs typeface="+mn-cs"/>
              </a:defRPr>
            </a:lvl4pPr>
            <a:lvl5pPr marL="16002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cs typeface="+mn-cs"/>
              </a:defRPr>
            </a:lvl5pPr>
            <a:lvl6pPr marL="20574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5146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29718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4290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>
              <a:buFontTx/>
              <a:buNone/>
            </a:pPr>
            <a:r>
              <a:rPr lang="en-US" sz="2000" kern="0" dirty="0" smtClean="0">
                <a:solidFill>
                  <a:srgbClr val="00269E"/>
                </a:solidFill>
              </a:rPr>
              <a:t>NTD Reportable items – Fixed Guideway</a:t>
            </a:r>
            <a:endParaRPr lang="en-US" sz="2000" b="0" kern="0" dirty="0" smtClean="0"/>
          </a:p>
        </p:txBody>
      </p:sp>
      <p:sp>
        <p:nvSpPr>
          <p:cNvPr id="16" name="Text Placeholder 2"/>
          <p:cNvSpPr>
            <a:spLocks noGrp="1"/>
          </p:cNvSpPr>
          <p:nvPr>
            <p:ph type="body" sz="quarter" idx="4294967295"/>
          </p:nvPr>
        </p:nvSpPr>
        <p:spPr>
          <a:xfrm>
            <a:off x="462684" y="381000"/>
            <a:ext cx="7309716" cy="228600"/>
          </a:xfrm>
          <a:prstGeom prst="rect">
            <a:avLst/>
          </a:prstGeom>
        </p:spPr>
        <p:txBody>
          <a:bodyPr/>
          <a:lstStyle/>
          <a:p>
            <a:pPr>
              <a:spcBef>
                <a:spcPct val="0"/>
              </a:spcBef>
              <a:buNone/>
            </a:pPr>
            <a:r>
              <a:rPr lang="en-US" sz="1100" dirty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rPr>
              <a:t>Transit Asset Management</a:t>
            </a:r>
          </a:p>
        </p:txBody>
      </p:sp>
      <p:graphicFrame>
        <p:nvGraphicFramePr>
          <p:cNvPr id="2" name="Table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34502125"/>
              </p:ext>
            </p:extLst>
          </p:nvPr>
        </p:nvGraphicFramePr>
        <p:xfrm>
          <a:off x="790161" y="1485868"/>
          <a:ext cx="7323528" cy="435135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467284">
                  <a:extLst>
                    <a:ext uri="{9D8B030D-6E8A-4147-A177-3AD203B41FA5}">
                      <a16:colId xmlns:a16="http://schemas.microsoft.com/office/drawing/2014/main" val="4092512435"/>
                    </a:ext>
                  </a:extLst>
                </a:gridCol>
                <a:gridCol w="566623">
                  <a:extLst>
                    <a:ext uri="{9D8B030D-6E8A-4147-A177-3AD203B41FA5}">
                      <a16:colId xmlns:a16="http://schemas.microsoft.com/office/drawing/2014/main" val="2555874818"/>
                    </a:ext>
                  </a:extLst>
                </a:gridCol>
                <a:gridCol w="844153">
                  <a:extLst>
                    <a:ext uri="{9D8B030D-6E8A-4147-A177-3AD203B41FA5}">
                      <a16:colId xmlns:a16="http://schemas.microsoft.com/office/drawing/2014/main" val="981668578"/>
                    </a:ext>
                  </a:extLst>
                </a:gridCol>
                <a:gridCol w="601315">
                  <a:extLst>
                    <a:ext uri="{9D8B030D-6E8A-4147-A177-3AD203B41FA5}">
                      <a16:colId xmlns:a16="http://schemas.microsoft.com/office/drawing/2014/main" val="1356750225"/>
                    </a:ext>
                  </a:extLst>
                </a:gridCol>
                <a:gridCol w="844153">
                  <a:extLst>
                    <a:ext uri="{9D8B030D-6E8A-4147-A177-3AD203B41FA5}">
                      <a16:colId xmlns:a16="http://schemas.microsoft.com/office/drawing/2014/main" val="3205099335"/>
                    </a:ext>
                  </a:extLst>
                </a:gridCol>
              </a:tblGrid>
              <a:tr h="174054"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u="none" strike="noStrike">
                          <a:effectLst/>
                        </a:rPr>
                        <a:t>Guideway Elements</a:t>
                      </a:r>
                      <a:endParaRPr lang="en-US" sz="10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703" marR="8703" marT="8703" marB="0" anchor="ctr"/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>
                          <a:effectLst/>
                        </a:rPr>
                        <a:t>2018</a:t>
                      </a:r>
                      <a:endParaRPr lang="en-US" sz="10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703" marR="8703" marT="8703" marB="0" anchor="ctr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>
                          <a:effectLst/>
                        </a:rPr>
                        <a:t>2019</a:t>
                      </a:r>
                      <a:endParaRPr lang="en-US" sz="10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703" marR="8703" marT="8703" marB="0" anchor="ctr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77307438"/>
                  </a:ext>
                </a:extLst>
              </a:tr>
              <a:tr h="174054"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u="none" strike="noStrike">
                          <a:effectLst/>
                        </a:rPr>
                        <a:t> </a:t>
                      </a:r>
                      <a:endParaRPr lang="en-US" sz="10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703" marR="8703" marT="8703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u="none" strike="noStrike">
                          <a:effectLst/>
                        </a:rPr>
                        <a:t>Transit</a:t>
                      </a:r>
                      <a:endParaRPr lang="en-US" sz="10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703" marR="8703" marT="8703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u="none" strike="noStrike">
                          <a:effectLst/>
                        </a:rPr>
                        <a:t>Comm Rail</a:t>
                      </a:r>
                      <a:endParaRPr lang="en-US" sz="10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703" marR="8703" marT="8703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u="none" strike="noStrike">
                          <a:effectLst/>
                        </a:rPr>
                        <a:t>Transit </a:t>
                      </a:r>
                      <a:endParaRPr lang="en-US" sz="10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703" marR="8703" marT="8703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u="none" strike="noStrike">
                          <a:effectLst/>
                        </a:rPr>
                        <a:t>Comm Rail</a:t>
                      </a:r>
                      <a:endParaRPr lang="en-US" sz="10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703" marR="8703" marT="8703" marB="0" anchor="ctr"/>
                </a:tc>
                <a:extLst>
                  <a:ext uri="{0D108BD9-81ED-4DB2-BD59-A6C34878D82A}">
                    <a16:rowId xmlns:a16="http://schemas.microsoft.com/office/drawing/2014/main" val="3397932219"/>
                  </a:ext>
                </a:extLst>
              </a:tr>
              <a:tr h="174054"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u="none" strike="noStrike">
                          <a:effectLst/>
                        </a:rPr>
                        <a:t>1. At-Grade/Ballast (including expressway)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703" marR="8703" marT="8703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>
                          <a:effectLst/>
                        </a:rPr>
                        <a:t>x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703" marR="8703" marT="8703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>
                          <a:effectLst/>
                        </a:rPr>
                        <a:t>x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703" marR="8703" marT="8703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>
                          <a:effectLst/>
                        </a:rPr>
                        <a:t> 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703" marR="8703" marT="8703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>
                          <a:effectLst/>
                        </a:rPr>
                        <a:t> 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703" marR="8703" marT="8703" marB="0" anchor="ctr"/>
                </a:tc>
                <a:extLst>
                  <a:ext uri="{0D108BD9-81ED-4DB2-BD59-A6C34878D82A}">
                    <a16:rowId xmlns:a16="http://schemas.microsoft.com/office/drawing/2014/main" val="1102746618"/>
                  </a:ext>
                </a:extLst>
              </a:tr>
              <a:tr h="174054"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u="none" strike="noStrike">
                          <a:effectLst/>
                        </a:rPr>
                        <a:t>2. At-Grade/In-Street/Embedded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703" marR="8703" marT="8703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>
                          <a:effectLst/>
                        </a:rPr>
                        <a:t>x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703" marR="8703" marT="8703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>
                          <a:effectLst/>
                        </a:rPr>
                        <a:t>x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703" marR="8703" marT="8703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>
                          <a:effectLst/>
                        </a:rPr>
                        <a:t> 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703" marR="8703" marT="8703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>
                          <a:effectLst/>
                        </a:rPr>
                        <a:t> 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703" marR="8703" marT="8703" marB="0" anchor="ctr"/>
                </a:tc>
                <a:extLst>
                  <a:ext uri="{0D108BD9-81ED-4DB2-BD59-A6C34878D82A}">
                    <a16:rowId xmlns:a16="http://schemas.microsoft.com/office/drawing/2014/main" val="1773270232"/>
                  </a:ext>
                </a:extLst>
              </a:tr>
              <a:tr h="174054"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u="none" strike="noStrike">
                          <a:effectLst/>
                        </a:rPr>
                        <a:t>3. Elevated/Retained Fill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703" marR="8703" marT="8703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>
                          <a:effectLst/>
                        </a:rPr>
                        <a:t>x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703" marR="8703" marT="8703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>
                          <a:effectLst/>
                        </a:rPr>
                        <a:t>x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703" marR="8703" marT="8703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>
                          <a:effectLst/>
                        </a:rPr>
                        <a:t> 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703" marR="8703" marT="8703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>
                          <a:effectLst/>
                        </a:rPr>
                        <a:t> 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703" marR="8703" marT="8703" marB="0" anchor="ctr"/>
                </a:tc>
                <a:extLst>
                  <a:ext uri="{0D108BD9-81ED-4DB2-BD59-A6C34878D82A}">
                    <a16:rowId xmlns:a16="http://schemas.microsoft.com/office/drawing/2014/main" val="27729323"/>
                  </a:ext>
                </a:extLst>
              </a:tr>
              <a:tr h="174054"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u="none" strike="noStrike">
                          <a:effectLst/>
                        </a:rPr>
                        <a:t>4. Elevated/Concrete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703" marR="8703" marT="8703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>
                          <a:effectLst/>
                        </a:rPr>
                        <a:t>x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703" marR="8703" marT="8703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>
                          <a:effectLst/>
                        </a:rPr>
                        <a:t>x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703" marR="8703" marT="8703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>
                          <a:effectLst/>
                        </a:rPr>
                        <a:t> 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703" marR="8703" marT="8703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>
                          <a:effectLst/>
                        </a:rPr>
                        <a:t> 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703" marR="8703" marT="8703" marB="0" anchor="ctr"/>
                </a:tc>
                <a:extLst>
                  <a:ext uri="{0D108BD9-81ED-4DB2-BD59-A6C34878D82A}">
                    <a16:rowId xmlns:a16="http://schemas.microsoft.com/office/drawing/2014/main" val="3630441498"/>
                  </a:ext>
                </a:extLst>
              </a:tr>
              <a:tr h="174054"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u="none" strike="noStrike">
                          <a:effectLst/>
                        </a:rPr>
                        <a:t>5. Elevated/Steel Viaduct or Bridge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703" marR="8703" marT="8703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>
                          <a:effectLst/>
                        </a:rPr>
                        <a:t>x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703" marR="8703" marT="8703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>
                          <a:effectLst/>
                        </a:rPr>
                        <a:t>x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703" marR="8703" marT="8703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>
                          <a:effectLst/>
                        </a:rPr>
                        <a:t> 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703" marR="8703" marT="8703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>
                          <a:effectLst/>
                        </a:rPr>
                        <a:t> 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703" marR="8703" marT="8703" marB="0" anchor="ctr"/>
                </a:tc>
                <a:extLst>
                  <a:ext uri="{0D108BD9-81ED-4DB2-BD59-A6C34878D82A}">
                    <a16:rowId xmlns:a16="http://schemas.microsoft.com/office/drawing/2014/main" val="2557241755"/>
                  </a:ext>
                </a:extLst>
              </a:tr>
              <a:tr h="174054"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u="none" strike="noStrike">
                          <a:effectLst/>
                        </a:rPr>
                        <a:t>6. Below-Grade/Retained Cut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703" marR="8703" marT="8703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>
                          <a:effectLst/>
                        </a:rPr>
                        <a:t>x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703" marR="8703" marT="8703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>
                          <a:effectLst/>
                        </a:rPr>
                        <a:t>x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703" marR="8703" marT="8703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>
                          <a:effectLst/>
                        </a:rPr>
                        <a:t> 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703" marR="8703" marT="8703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>
                          <a:effectLst/>
                        </a:rPr>
                        <a:t> 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703" marR="8703" marT="8703" marB="0" anchor="ctr"/>
                </a:tc>
                <a:extLst>
                  <a:ext uri="{0D108BD9-81ED-4DB2-BD59-A6C34878D82A}">
                    <a16:rowId xmlns:a16="http://schemas.microsoft.com/office/drawing/2014/main" val="2320833340"/>
                  </a:ext>
                </a:extLst>
              </a:tr>
              <a:tr h="174054"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u="none" strike="noStrike">
                          <a:effectLst/>
                        </a:rPr>
                        <a:t>7. Below-Grade/Cut-and-Cover Tunnel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703" marR="8703" marT="8703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>
                          <a:effectLst/>
                        </a:rPr>
                        <a:t>x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703" marR="8703" marT="8703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>
                          <a:effectLst/>
                        </a:rPr>
                        <a:t>x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703" marR="8703" marT="8703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>
                          <a:effectLst/>
                        </a:rPr>
                        <a:t> 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703" marR="8703" marT="8703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>
                          <a:effectLst/>
                        </a:rPr>
                        <a:t> 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703" marR="8703" marT="8703" marB="0" anchor="ctr"/>
                </a:tc>
                <a:extLst>
                  <a:ext uri="{0D108BD9-81ED-4DB2-BD59-A6C34878D82A}">
                    <a16:rowId xmlns:a16="http://schemas.microsoft.com/office/drawing/2014/main" val="2490752879"/>
                  </a:ext>
                </a:extLst>
              </a:tr>
              <a:tr h="174054"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u="none" strike="noStrike">
                          <a:effectLst/>
                        </a:rPr>
                        <a:t>8. Below-Grade/Bored or Blasted Tunnel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703" marR="8703" marT="8703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>
                          <a:effectLst/>
                        </a:rPr>
                        <a:t>x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703" marR="8703" marT="8703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>
                          <a:effectLst/>
                        </a:rPr>
                        <a:t>x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703" marR="8703" marT="8703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>
                          <a:effectLst/>
                        </a:rPr>
                        <a:t> 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703" marR="8703" marT="8703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>
                          <a:effectLst/>
                        </a:rPr>
                        <a:t> 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703" marR="8703" marT="8703" marB="0" anchor="ctr"/>
                </a:tc>
                <a:extLst>
                  <a:ext uri="{0D108BD9-81ED-4DB2-BD59-A6C34878D82A}">
                    <a16:rowId xmlns:a16="http://schemas.microsoft.com/office/drawing/2014/main" val="375010054"/>
                  </a:ext>
                </a:extLst>
              </a:tr>
              <a:tr h="174054"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u="none" strike="noStrike">
                          <a:effectLst/>
                        </a:rPr>
                        <a:t>9. Below-Grade/Submerged Tube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703" marR="8703" marT="8703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>
                          <a:effectLst/>
                        </a:rPr>
                        <a:t>x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703" marR="8703" marT="8703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>
                          <a:effectLst/>
                        </a:rPr>
                        <a:t>x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703" marR="8703" marT="8703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>
                          <a:effectLst/>
                        </a:rPr>
                        <a:t> 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703" marR="8703" marT="8703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>
                          <a:effectLst/>
                        </a:rPr>
                        <a:t> 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703" marR="8703" marT="8703" marB="0" anchor="ctr"/>
                </a:tc>
                <a:extLst>
                  <a:ext uri="{0D108BD9-81ED-4DB2-BD59-A6C34878D82A}">
                    <a16:rowId xmlns:a16="http://schemas.microsoft.com/office/drawing/2014/main" val="1563759018"/>
                  </a:ext>
                </a:extLst>
              </a:tr>
              <a:tr h="174054"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1" u="none" strike="noStrike" dirty="0">
                          <a:effectLst/>
                        </a:rPr>
                        <a:t>10. Substation Building</a:t>
                      </a:r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703" marR="8703" marT="8703" marB="0" anchor="ctr"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1" u="none" strike="noStrike" dirty="0">
                          <a:effectLst/>
                        </a:rPr>
                        <a:t>x</a:t>
                      </a:r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703" marR="8703" marT="8703" marB="0" anchor="ctr"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1" u="none" strike="noStrike" dirty="0">
                          <a:effectLst/>
                        </a:rPr>
                        <a:t>x</a:t>
                      </a:r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703" marR="8703" marT="8703" marB="0" anchor="ctr"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1" u="none" strike="noStrike" dirty="0">
                          <a:effectLst/>
                        </a:rPr>
                        <a:t>x</a:t>
                      </a:r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703" marR="8703" marT="8703" marB="0" anchor="ctr"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1" u="none" strike="noStrike" dirty="0">
                          <a:effectLst/>
                        </a:rPr>
                        <a:t>x</a:t>
                      </a:r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703" marR="8703" marT="8703" marB="0" anchor="ctr">
                    <a:solidFill>
                      <a:srgbClr val="FFFF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56199917"/>
                  </a:ext>
                </a:extLst>
              </a:tr>
              <a:tr h="174054"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1" u="none" strike="noStrike" dirty="0">
                          <a:effectLst/>
                        </a:rPr>
                        <a:t>11. Substation Equipment</a:t>
                      </a:r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703" marR="8703" marT="8703" marB="0" anchor="ctr"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1" u="none" strike="noStrike">
                          <a:effectLst/>
                        </a:rPr>
                        <a:t>x</a:t>
                      </a:r>
                      <a:endParaRPr lang="en-US" sz="10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703" marR="8703" marT="8703" marB="0" anchor="ctr"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1" u="none" strike="noStrike">
                          <a:effectLst/>
                        </a:rPr>
                        <a:t>x</a:t>
                      </a:r>
                      <a:endParaRPr lang="en-US" sz="10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703" marR="8703" marT="8703" marB="0" anchor="ctr"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1" u="none" strike="noStrike">
                          <a:effectLst/>
                        </a:rPr>
                        <a:t>x</a:t>
                      </a:r>
                      <a:endParaRPr lang="en-US" sz="10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703" marR="8703" marT="8703" marB="0" anchor="ctr"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1" u="none" strike="noStrike" dirty="0">
                          <a:effectLst/>
                        </a:rPr>
                        <a:t>x</a:t>
                      </a:r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703" marR="8703" marT="8703" marB="0" anchor="ctr">
                    <a:solidFill>
                      <a:srgbClr val="FFFF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12859072"/>
                  </a:ext>
                </a:extLst>
              </a:tr>
              <a:tr h="174054"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1" u="none" strike="noStrike" dirty="0">
                          <a:effectLst/>
                        </a:rPr>
                        <a:t>12. Third Rail/Power Distribution</a:t>
                      </a:r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703" marR="8703" marT="8703" marB="0" anchor="ctr"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1" u="none" strike="noStrike">
                          <a:effectLst/>
                        </a:rPr>
                        <a:t> </a:t>
                      </a:r>
                      <a:endParaRPr lang="en-US" sz="10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703" marR="8703" marT="8703" marB="0" anchor="ctr"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1" u="none" strike="noStrike" dirty="0">
                          <a:effectLst/>
                        </a:rPr>
                        <a:t>x</a:t>
                      </a:r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703" marR="8703" marT="8703" marB="0" anchor="ctr"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1" u="none" strike="noStrike" dirty="0">
                          <a:effectLst/>
                        </a:rPr>
                        <a:t>x</a:t>
                      </a:r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703" marR="8703" marT="8703" marB="0" anchor="ctr"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1" u="none" strike="noStrike" dirty="0">
                          <a:effectLst/>
                        </a:rPr>
                        <a:t>x</a:t>
                      </a:r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703" marR="8703" marT="8703" marB="0" anchor="ctr">
                    <a:solidFill>
                      <a:srgbClr val="FFFF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32789654"/>
                  </a:ext>
                </a:extLst>
              </a:tr>
              <a:tr h="174054"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1" u="none" strike="noStrike" dirty="0">
                          <a:effectLst/>
                        </a:rPr>
                        <a:t>13. Overhead Contact System/Power Distribution</a:t>
                      </a:r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703" marR="8703" marT="8703" marB="0" anchor="ctr"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1" u="none" strike="noStrike" dirty="0">
                          <a:effectLst/>
                        </a:rPr>
                        <a:t> </a:t>
                      </a:r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703" marR="8703" marT="8703" marB="0" anchor="ctr"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1" u="none" strike="noStrike" dirty="0">
                          <a:effectLst/>
                        </a:rPr>
                        <a:t> </a:t>
                      </a:r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703" marR="8703" marT="8703" marB="0" anchor="ctr"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1" u="none" strike="noStrike" dirty="0">
                          <a:effectLst/>
                        </a:rPr>
                        <a:t>x</a:t>
                      </a:r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703" marR="8703" marT="8703" marB="0" anchor="ctr"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1" u="none" strike="noStrike" dirty="0">
                          <a:effectLst/>
                        </a:rPr>
                        <a:t>x</a:t>
                      </a:r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703" marR="8703" marT="8703" marB="0" anchor="ctr">
                    <a:solidFill>
                      <a:srgbClr val="FFFF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48887049"/>
                  </a:ext>
                </a:extLst>
              </a:tr>
              <a:tr h="174054"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1" u="none" strike="noStrike">
                          <a:effectLst/>
                        </a:rPr>
                        <a:t>14. Train Control &amp; Signaling</a:t>
                      </a:r>
                      <a:endParaRPr lang="en-US" sz="10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703" marR="8703" marT="8703" marB="0" anchor="ctr"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1" u="none" strike="noStrike">
                          <a:effectLst/>
                        </a:rPr>
                        <a:t>x</a:t>
                      </a:r>
                      <a:endParaRPr lang="en-US" sz="10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703" marR="8703" marT="8703" marB="0" anchor="ctr"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1" u="none" strike="noStrike">
                          <a:effectLst/>
                        </a:rPr>
                        <a:t>x</a:t>
                      </a:r>
                      <a:endParaRPr lang="en-US" sz="10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703" marR="8703" marT="8703" marB="0" anchor="ctr"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1" u="none" strike="noStrike">
                          <a:effectLst/>
                        </a:rPr>
                        <a:t>x</a:t>
                      </a:r>
                      <a:endParaRPr lang="en-US" sz="10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703" marR="8703" marT="8703" marB="0" anchor="ctr"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1" u="none" strike="noStrike" dirty="0">
                          <a:effectLst/>
                        </a:rPr>
                        <a:t>x</a:t>
                      </a:r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703" marR="8703" marT="8703" marB="0" anchor="ctr">
                    <a:solidFill>
                      <a:srgbClr val="FFFF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95344375"/>
                  </a:ext>
                </a:extLst>
              </a:tr>
              <a:tr h="174054"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u="none" strike="noStrike">
                          <a:effectLst/>
                        </a:rPr>
                        <a:t>15. Tangent – Revenue Service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703" marR="8703" marT="8703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>
                          <a:effectLst/>
                        </a:rPr>
                        <a:t>x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703" marR="8703" marT="8703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>
                          <a:effectLst/>
                        </a:rPr>
                        <a:t>x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703" marR="8703" marT="8703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>
                          <a:effectLst/>
                        </a:rPr>
                        <a:t> 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703" marR="8703" marT="8703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>
                          <a:effectLst/>
                        </a:rPr>
                        <a:t> 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703" marR="8703" marT="8703" marB="0" anchor="ctr"/>
                </a:tc>
                <a:extLst>
                  <a:ext uri="{0D108BD9-81ED-4DB2-BD59-A6C34878D82A}">
                    <a16:rowId xmlns:a16="http://schemas.microsoft.com/office/drawing/2014/main" val="2707881685"/>
                  </a:ext>
                </a:extLst>
              </a:tr>
              <a:tr h="174054"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u="none" strike="noStrike">
                          <a:effectLst/>
                        </a:rPr>
                        <a:t>16. Curve – Revenue Service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703" marR="8703" marT="8703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>
                          <a:effectLst/>
                        </a:rPr>
                        <a:t>x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703" marR="8703" marT="8703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>
                          <a:effectLst/>
                        </a:rPr>
                        <a:t>x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703" marR="8703" marT="8703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>
                          <a:effectLst/>
                        </a:rPr>
                        <a:t> 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703" marR="8703" marT="8703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>
                          <a:effectLst/>
                        </a:rPr>
                        <a:t> 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703" marR="8703" marT="8703" marB="0" anchor="ctr"/>
                </a:tc>
                <a:extLst>
                  <a:ext uri="{0D108BD9-81ED-4DB2-BD59-A6C34878D82A}">
                    <a16:rowId xmlns:a16="http://schemas.microsoft.com/office/drawing/2014/main" val="2949789977"/>
                  </a:ext>
                </a:extLst>
              </a:tr>
              <a:tr h="174054"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u="none" strike="noStrike">
                          <a:effectLst/>
                        </a:rPr>
                        <a:t>17. Non-Revenue Service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703" marR="8703" marT="8703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>
                          <a:effectLst/>
                        </a:rPr>
                        <a:t>x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703" marR="8703" marT="8703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>
                          <a:effectLst/>
                        </a:rPr>
                        <a:t>x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703" marR="8703" marT="8703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>
                          <a:effectLst/>
                        </a:rPr>
                        <a:t> 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703" marR="8703" marT="8703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>
                          <a:effectLst/>
                        </a:rPr>
                        <a:t> 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703" marR="8703" marT="8703" marB="0" anchor="ctr"/>
                </a:tc>
                <a:extLst>
                  <a:ext uri="{0D108BD9-81ED-4DB2-BD59-A6C34878D82A}">
                    <a16:rowId xmlns:a16="http://schemas.microsoft.com/office/drawing/2014/main" val="1506558423"/>
                  </a:ext>
                </a:extLst>
              </a:tr>
              <a:tr h="174054"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u="none" strike="noStrike">
                          <a:effectLst/>
                        </a:rPr>
                        <a:t>18. Revenue Track – No Capital Replacement Responsibility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703" marR="8703" marT="8703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>
                          <a:effectLst/>
                        </a:rPr>
                        <a:t>x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703" marR="8703" marT="8703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>
                          <a:effectLst/>
                        </a:rPr>
                        <a:t>x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703" marR="8703" marT="8703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>
                          <a:effectLst/>
                        </a:rPr>
                        <a:t> 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703" marR="8703" marT="8703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>
                          <a:effectLst/>
                        </a:rPr>
                        <a:t> 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703" marR="8703" marT="8703" marB="0" anchor="ctr"/>
                </a:tc>
                <a:extLst>
                  <a:ext uri="{0D108BD9-81ED-4DB2-BD59-A6C34878D82A}">
                    <a16:rowId xmlns:a16="http://schemas.microsoft.com/office/drawing/2014/main" val="1735490480"/>
                  </a:ext>
                </a:extLst>
              </a:tr>
              <a:tr h="174054"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u="none" strike="noStrike">
                          <a:effectLst/>
                        </a:rPr>
                        <a:t>19. Double Diamond Crossover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703" marR="8703" marT="8703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>
                          <a:effectLst/>
                        </a:rPr>
                        <a:t>x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703" marR="8703" marT="8703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>
                          <a:effectLst/>
                        </a:rPr>
                        <a:t>x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703" marR="8703" marT="8703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>
                          <a:effectLst/>
                        </a:rPr>
                        <a:t> 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703" marR="8703" marT="8703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>
                          <a:effectLst/>
                        </a:rPr>
                        <a:t> 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703" marR="8703" marT="8703" marB="0" anchor="ctr"/>
                </a:tc>
                <a:extLst>
                  <a:ext uri="{0D108BD9-81ED-4DB2-BD59-A6C34878D82A}">
                    <a16:rowId xmlns:a16="http://schemas.microsoft.com/office/drawing/2014/main" val="2056254066"/>
                  </a:ext>
                </a:extLst>
              </a:tr>
              <a:tr h="174054"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u="none" strike="noStrike">
                          <a:effectLst/>
                        </a:rPr>
                        <a:t>20. Single Crossover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703" marR="8703" marT="8703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>
                          <a:effectLst/>
                        </a:rPr>
                        <a:t>x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703" marR="8703" marT="8703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>
                          <a:effectLst/>
                        </a:rPr>
                        <a:t>x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703" marR="8703" marT="8703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>
                          <a:effectLst/>
                        </a:rPr>
                        <a:t> 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703" marR="8703" marT="8703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>
                          <a:effectLst/>
                        </a:rPr>
                        <a:t> 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703" marR="8703" marT="8703" marB="0" anchor="ctr"/>
                </a:tc>
                <a:extLst>
                  <a:ext uri="{0D108BD9-81ED-4DB2-BD59-A6C34878D82A}">
                    <a16:rowId xmlns:a16="http://schemas.microsoft.com/office/drawing/2014/main" val="1090525625"/>
                  </a:ext>
                </a:extLst>
              </a:tr>
              <a:tr h="174054"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u="none" strike="noStrike">
                          <a:effectLst/>
                        </a:rPr>
                        <a:t>21. Half Grand Union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703" marR="8703" marT="8703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>
                          <a:effectLst/>
                        </a:rPr>
                        <a:t>x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703" marR="8703" marT="8703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>
                          <a:effectLst/>
                        </a:rPr>
                        <a:t>x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703" marR="8703" marT="8703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>
                          <a:effectLst/>
                        </a:rPr>
                        <a:t> 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703" marR="8703" marT="8703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>
                          <a:effectLst/>
                        </a:rPr>
                        <a:t> 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703" marR="8703" marT="8703" marB="0" anchor="ctr"/>
                </a:tc>
                <a:extLst>
                  <a:ext uri="{0D108BD9-81ED-4DB2-BD59-A6C34878D82A}">
                    <a16:rowId xmlns:a16="http://schemas.microsoft.com/office/drawing/2014/main" val="952701837"/>
                  </a:ext>
                </a:extLst>
              </a:tr>
              <a:tr h="174054"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u="none" strike="noStrike">
                          <a:effectLst/>
                        </a:rPr>
                        <a:t>22. Single Turnout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703" marR="8703" marT="8703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>
                          <a:effectLst/>
                        </a:rPr>
                        <a:t>x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703" marR="8703" marT="8703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>
                          <a:effectLst/>
                        </a:rPr>
                        <a:t>x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703" marR="8703" marT="8703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>
                          <a:effectLst/>
                        </a:rPr>
                        <a:t> 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703" marR="8703" marT="8703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>
                          <a:effectLst/>
                        </a:rPr>
                        <a:t> 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703" marR="8703" marT="8703" marB="0" anchor="ctr"/>
                </a:tc>
                <a:extLst>
                  <a:ext uri="{0D108BD9-81ED-4DB2-BD59-A6C34878D82A}">
                    <a16:rowId xmlns:a16="http://schemas.microsoft.com/office/drawing/2014/main" val="1115821889"/>
                  </a:ext>
                </a:extLst>
              </a:tr>
              <a:tr h="174054"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u="none" strike="noStrike">
                          <a:effectLst/>
                        </a:rPr>
                        <a:t>23. Grade Crossings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703" marR="8703" marT="8703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>
                          <a:effectLst/>
                        </a:rPr>
                        <a:t>x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703" marR="8703" marT="8703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>
                          <a:effectLst/>
                        </a:rPr>
                        <a:t>x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703" marR="8703" marT="8703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>
                          <a:effectLst/>
                        </a:rPr>
                        <a:t> 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703" marR="8703" marT="8703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 dirty="0">
                          <a:effectLst/>
                        </a:rPr>
                        <a:t> 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703" marR="8703" marT="8703" marB="0" anchor="ctr"/>
                </a:tc>
                <a:extLst>
                  <a:ext uri="{0D108BD9-81ED-4DB2-BD59-A6C34878D82A}">
                    <a16:rowId xmlns:a16="http://schemas.microsoft.com/office/drawing/2014/main" val="247295013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0428925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2"/>
          <p:cNvSpPr>
            <a:spLocks noGrp="1"/>
          </p:cNvSpPr>
          <p:nvPr>
            <p:ph type="body" sz="quarter" idx="4294967295"/>
          </p:nvPr>
        </p:nvSpPr>
        <p:spPr>
          <a:xfrm>
            <a:off x="462684" y="381000"/>
            <a:ext cx="7309716" cy="228600"/>
          </a:xfrm>
          <a:prstGeom prst="rect">
            <a:avLst/>
          </a:prstGeom>
        </p:spPr>
        <p:txBody>
          <a:bodyPr/>
          <a:lstStyle/>
          <a:p>
            <a:pPr>
              <a:spcBef>
                <a:spcPct val="0"/>
              </a:spcBef>
              <a:buNone/>
            </a:pPr>
            <a:r>
              <a:rPr lang="en-US" sz="1100" dirty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rPr>
              <a:t>Transit Asset Management</a:t>
            </a:r>
          </a:p>
        </p:txBody>
      </p:sp>
      <p:sp>
        <p:nvSpPr>
          <p:cNvPr id="4" name="Content Placeholder 2"/>
          <p:cNvSpPr txBox="1">
            <a:spLocks/>
          </p:cNvSpPr>
          <p:nvPr/>
        </p:nvSpPr>
        <p:spPr>
          <a:xfrm>
            <a:off x="462684" y="846217"/>
            <a:ext cx="6774286" cy="403034"/>
          </a:xfrm>
          <a:prstGeom prst="rect">
            <a:avLst/>
          </a:prstGeom>
        </p:spPr>
        <p:txBody>
          <a:bodyPr>
            <a:noAutofit/>
          </a:bodyPr>
          <a:lstStyle>
            <a:lvl1pPr marL="228600" indent="-228600" algn="l" rtl="0" eaLnBrk="1" fontAlgn="base" hangingPunct="1">
              <a:spcBef>
                <a:spcPct val="100000"/>
              </a:spcBef>
              <a:spcAft>
                <a:spcPct val="0"/>
              </a:spcAft>
              <a:buClr>
                <a:srgbClr val="0033CC"/>
              </a:buClr>
              <a:buChar char="•"/>
              <a:defRPr sz="2400" b="1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  <a:lvl2pPr marL="576263" indent="-23336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Font typeface="Arial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cs typeface="+mn-cs"/>
              </a:defRPr>
            </a:lvl2pPr>
            <a:lvl3pPr marL="9144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  <a:cs typeface="+mn-cs"/>
              </a:defRPr>
            </a:lvl3pPr>
            <a:lvl4pPr marL="1262063" indent="-23336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cs typeface="+mn-cs"/>
              </a:defRPr>
            </a:lvl4pPr>
            <a:lvl5pPr marL="16002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cs typeface="+mn-cs"/>
              </a:defRPr>
            </a:lvl5pPr>
            <a:lvl6pPr marL="20574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5146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29718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4290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>
              <a:buFontTx/>
              <a:buNone/>
            </a:pPr>
            <a:r>
              <a:rPr lang="en-US" sz="2000" kern="0" dirty="0" smtClean="0">
                <a:solidFill>
                  <a:srgbClr val="00269E"/>
                </a:solidFill>
              </a:rPr>
              <a:t>NTD Reportable items – Facilities</a:t>
            </a:r>
            <a:endParaRPr lang="en-US" sz="2000" b="0" kern="0" dirty="0" smtClean="0"/>
          </a:p>
        </p:txBody>
      </p:sp>
      <p:graphicFrame>
        <p:nvGraphicFramePr>
          <p:cNvPr id="2" name="Table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47678574"/>
              </p:ext>
            </p:extLst>
          </p:nvPr>
        </p:nvGraphicFramePr>
        <p:xfrm>
          <a:off x="462684" y="1666171"/>
          <a:ext cx="8204798" cy="419100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5232438">
                  <a:extLst>
                    <a:ext uri="{9D8B030D-6E8A-4147-A177-3AD203B41FA5}">
                      <a16:colId xmlns:a16="http://schemas.microsoft.com/office/drawing/2014/main" val="1274433384"/>
                    </a:ext>
                  </a:extLst>
                </a:gridCol>
                <a:gridCol w="738851">
                  <a:extLst>
                    <a:ext uri="{9D8B030D-6E8A-4147-A177-3AD203B41FA5}">
                      <a16:colId xmlns:a16="http://schemas.microsoft.com/office/drawing/2014/main" val="4011890066"/>
                    </a:ext>
                  </a:extLst>
                </a:gridCol>
                <a:gridCol w="836134">
                  <a:extLst>
                    <a:ext uri="{9D8B030D-6E8A-4147-A177-3AD203B41FA5}">
                      <a16:colId xmlns:a16="http://schemas.microsoft.com/office/drawing/2014/main" val="1499580721"/>
                    </a:ext>
                  </a:extLst>
                </a:gridCol>
                <a:gridCol w="561241">
                  <a:extLst>
                    <a:ext uri="{9D8B030D-6E8A-4147-A177-3AD203B41FA5}">
                      <a16:colId xmlns:a16="http://schemas.microsoft.com/office/drawing/2014/main" val="1213333039"/>
                    </a:ext>
                  </a:extLst>
                </a:gridCol>
                <a:gridCol w="836134">
                  <a:extLst>
                    <a:ext uri="{9D8B030D-6E8A-4147-A177-3AD203B41FA5}">
                      <a16:colId xmlns:a16="http://schemas.microsoft.com/office/drawing/2014/main" val="982066943"/>
                    </a:ext>
                  </a:extLst>
                </a:gridCol>
              </a:tblGrid>
              <a:tr h="19050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u="none" strike="noStrike">
                          <a:effectLst/>
                        </a:rPr>
                        <a:t>Facilities</a:t>
                      </a:r>
                      <a:endParaRPr lang="en-US" sz="11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sz="1100" u="none" strike="noStrike">
                          <a:effectLst/>
                        </a:rPr>
                        <a:t>2018</a:t>
                      </a:r>
                      <a:endParaRPr lang="en-US" sz="11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sz="1100" u="none" strike="noStrike">
                          <a:effectLst/>
                        </a:rPr>
                        <a:t>2019</a:t>
                      </a:r>
                      <a:endParaRPr lang="en-US" sz="11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09520339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u="none" strike="noStrike">
                          <a:effectLst/>
                        </a:rPr>
                        <a:t> </a:t>
                      </a:r>
                      <a:endParaRPr lang="en-US" sz="11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u="none" strike="noStrike">
                          <a:effectLst/>
                        </a:rPr>
                        <a:t>Transit</a:t>
                      </a:r>
                      <a:endParaRPr lang="en-US" sz="11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u="none" strike="noStrike">
                          <a:effectLst/>
                        </a:rPr>
                        <a:t>Comm Rail</a:t>
                      </a:r>
                      <a:endParaRPr lang="en-US" sz="11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u="none" strike="noStrike">
                          <a:effectLst/>
                        </a:rPr>
                        <a:t>Transit</a:t>
                      </a:r>
                      <a:endParaRPr lang="en-US" sz="11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u="none" strike="noStrike">
                          <a:effectLst/>
                        </a:rPr>
                        <a:t>Comm Rail</a:t>
                      </a:r>
                      <a:endParaRPr lang="en-US" sz="11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56299973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u="none" strike="noStrike">
                          <a:effectLst/>
                        </a:rPr>
                        <a:t>Administrative Office / Sales Office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u="none" strike="noStrike">
                          <a:effectLst/>
                        </a:rPr>
                        <a:t>x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u="none" strike="noStrike">
                          <a:effectLst/>
                        </a:rPr>
                        <a:t>x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u="none" strike="noStrike">
                          <a:effectLst/>
                        </a:rPr>
                        <a:t> 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u="none" strike="noStrike">
                          <a:effectLst/>
                        </a:rPr>
                        <a:t> 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803885777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1" u="none" strike="noStrike" dirty="0">
                          <a:effectLst/>
                        </a:rPr>
                        <a:t>At-Grade Fixed Guideway Station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1" u="none" strike="noStrike">
                          <a:effectLst/>
                        </a:rPr>
                        <a:t> </a:t>
                      </a:r>
                      <a:endParaRPr lang="en-US" sz="11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1" u="none" strike="noStrike" dirty="0">
                          <a:effectLst/>
                        </a:rPr>
                        <a:t>x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1" u="none" strike="noStrike" dirty="0">
                          <a:effectLst/>
                        </a:rPr>
                        <a:t>x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1" u="none" strike="noStrike">
                          <a:effectLst/>
                        </a:rPr>
                        <a:t> </a:t>
                      </a:r>
                      <a:endParaRPr lang="en-US" sz="11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FFFF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03146284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1" u="none" strike="noStrike" dirty="0">
                          <a:effectLst/>
                        </a:rPr>
                        <a:t>Bus Transfer Center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1" u="none" strike="noStrike" dirty="0">
                          <a:effectLst/>
                        </a:rPr>
                        <a:t> 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1" u="none" strike="noStrike" dirty="0">
                          <a:effectLst/>
                        </a:rPr>
                        <a:t>x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1" u="none" strike="noStrike" dirty="0">
                          <a:effectLst/>
                        </a:rPr>
                        <a:t>x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1" u="none" strike="noStrike" dirty="0">
                          <a:effectLst/>
                        </a:rPr>
                        <a:t> 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FFFF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35609428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u="none" strike="noStrike">
                          <a:effectLst/>
                        </a:rPr>
                        <a:t>Combined Administrative and Maintenance Facility (describe in Notes)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u="none" strike="noStrike">
                          <a:effectLst/>
                        </a:rPr>
                        <a:t>x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u="none" strike="noStrike">
                          <a:effectLst/>
                        </a:rPr>
                        <a:t>x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u="none" strike="noStrike">
                          <a:effectLst/>
                        </a:rPr>
                        <a:t> 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u="none" strike="noStrike">
                          <a:effectLst/>
                        </a:rPr>
                        <a:t> 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271643069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1" u="none" strike="noStrike" dirty="0">
                          <a:effectLst/>
                        </a:rPr>
                        <a:t>Elevated Fixed Guideway Station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1" u="none" strike="noStrike" dirty="0">
                          <a:effectLst/>
                        </a:rPr>
                        <a:t> 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1" u="none" strike="noStrike" dirty="0">
                          <a:effectLst/>
                        </a:rPr>
                        <a:t>x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1" u="none" strike="noStrike" dirty="0">
                          <a:effectLst/>
                        </a:rPr>
                        <a:t>x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u="none" strike="noStrike" dirty="0">
                          <a:effectLst/>
                        </a:rPr>
                        <a:t> 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FFFF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0047893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u="none" strike="noStrike" dirty="0">
                          <a:effectLst/>
                        </a:rPr>
                        <a:t>Exclusive Grade-Separated Platform Station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u="none" strike="noStrike">
                          <a:effectLst/>
                        </a:rPr>
                        <a:t>x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u="none" strike="noStrike">
                          <a:effectLst/>
                        </a:rPr>
                        <a:t>x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u="none" strike="noStrike" dirty="0">
                          <a:effectLst/>
                        </a:rPr>
                        <a:t> 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u="none" strike="noStrike" dirty="0">
                          <a:effectLst/>
                        </a:rPr>
                        <a:t> 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173926320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u="none" strike="noStrike" dirty="0">
                          <a:effectLst/>
                        </a:rPr>
                        <a:t>General Purpose Maintenance Facility/Depot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u="none" strike="noStrike">
                          <a:effectLst/>
                        </a:rPr>
                        <a:t>x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u="none" strike="noStrike">
                          <a:effectLst/>
                        </a:rPr>
                        <a:t>x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u="none" strike="noStrike">
                          <a:effectLst/>
                        </a:rPr>
                        <a:t> 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u="none" strike="noStrike">
                          <a:effectLst/>
                        </a:rPr>
                        <a:t> 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913028157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u="none" strike="noStrike">
                          <a:effectLst/>
                        </a:rPr>
                        <a:t>Heavy Maintenance &amp; Overhaul (Backshop)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u="none" strike="noStrike">
                          <a:effectLst/>
                        </a:rPr>
                        <a:t>x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u="none" strike="noStrike">
                          <a:effectLst/>
                        </a:rPr>
                        <a:t>x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u="none" strike="noStrike">
                          <a:effectLst/>
                        </a:rPr>
                        <a:t> 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u="none" strike="noStrike">
                          <a:effectLst/>
                        </a:rPr>
                        <a:t> 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953634816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1" u="none" strike="noStrike" dirty="0">
                          <a:effectLst/>
                        </a:rPr>
                        <a:t>Maintenance Facility (Service and Inspection)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1" u="none" strike="noStrike" dirty="0">
                          <a:effectLst/>
                        </a:rPr>
                        <a:t>x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1" u="none" strike="noStrike" dirty="0">
                          <a:effectLst/>
                        </a:rPr>
                        <a:t>x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1" u="none" strike="noStrike" dirty="0">
                          <a:effectLst/>
                        </a:rPr>
                        <a:t>x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u="none" strike="noStrike" dirty="0">
                          <a:effectLst/>
                        </a:rPr>
                        <a:t> 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FFFF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42825796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u="none" strike="noStrike" dirty="0">
                          <a:effectLst/>
                        </a:rPr>
                        <a:t>Other, Administrative &amp; Maintenance (describe in Notes)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u="none" strike="noStrike">
                          <a:effectLst/>
                        </a:rPr>
                        <a:t>x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u="none" strike="noStrike">
                          <a:effectLst/>
                        </a:rPr>
                        <a:t>x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u="none" strike="noStrike">
                          <a:effectLst/>
                        </a:rPr>
                        <a:t> 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u="none" strike="noStrike">
                          <a:effectLst/>
                        </a:rPr>
                        <a:t> 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916104034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1" u="none" strike="noStrike" dirty="0">
                          <a:effectLst/>
                        </a:rPr>
                        <a:t>Other, Passenger or Parking (describe in Notes)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u="none" strike="noStrike">
                          <a:effectLst/>
                        </a:rPr>
                        <a:t> 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u="none" strike="noStrike">
                          <a:effectLst/>
                        </a:rPr>
                        <a:t> 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1" u="none" strike="noStrike" dirty="0">
                          <a:effectLst/>
                        </a:rPr>
                        <a:t>x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1" u="none" strike="noStrike" dirty="0">
                          <a:effectLst/>
                        </a:rPr>
                        <a:t>x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FFFF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06272927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1" u="none" strike="noStrike" dirty="0">
                          <a:effectLst/>
                        </a:rPr>
                        <a:t>Parking Structure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u="none" strike="noStrike">
                          <a:effectLst/>
                        </a:rPr>
                        <a:t> 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u="none" strike="noStrike">
                          <a:effectLst/>
                        </a:rPr>
                        <a:t> 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1" u="none" strike="noStrike" dirty="0">
                          <a:effectLst/>
                        </a:rPr>
                        <a:t>x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1" u="none" strike="noStrike" dirty="0">
                          <a:effectLst/>
                        </a:rPr>
                        <a:t>x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FFFF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19514392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1" u="none" strike="noStrike" dirty="0">
                          <a:effectLst/>
                        </a:rPr>
                        <a:t>Revenue Collection Facility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u="none" strike="noStrike" dirty="0">
                          <a:effectLst/>
                        </a:rPr>
                        <a:t> 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1" u="none" strike="noStrike" dirty="0">
                          <a:effectLst/>
                        </a:rPr>
                        <a:t>x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1" u="none" strike="noStrike" dirty="0">
                          <a:effectLst/>
                        </a:rPr>
                        <a:t>x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u="none" strike="noStrike">
                          <a:effectLst/>
                        </a:rPr>
                        <a:t> 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FFFF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6675000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1" u="none" strike="noStrike" dirty="0">
                          <a:effectLst/>
                        </a:rPr>
                        <a:t>Simple At-Grade Platform Station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u="none" strike="noStrike">
                          <a:effectLst/>
                        </a:rPr>
                        <a:t> 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1" u="none" strike="noStrike" dirty="0">
                          <a:effectLst/>
                        </a:rPr>
                        <a:t>x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1" u="none" strike="noStrike" dirty="0">
                          <a:effectLst/>
                        </a:rPr>
                        <a:t>x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u="none" strike="noStrike" dirty="0">
                          <a:effectLst/>
                        </a:rPr>
                        <a:t> 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FFFF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49969562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1" u="none" strike="noStrike" dirty="0">
                          <a:effectLst/>
                        </a:rPr>
                        <a:t>Surface Parking Lot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u="none" strike="noStrike">
                          <a:effectLst/>
                        </a:rPr>
                        <a:t> 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u="none" strike="noStrike">
                          <a:effectLst/>
                        </a:rPr>
                        <a:t> 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1" u="none" strike="noStrike" dirty="0">
                          <a:effectLst/>
                        </a:rPr>
                        <a:t>x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1" u="none" strike="noStrike" dirty="0">
                          <a:effectLst/>
                        </a:rPr>
                        <a:t>x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FFFF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44104167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1" u="none" strike="noStrike" dirty="0">
                          <a:effectLst/>
                        </a:rPr>
                        <a:t>Underground Fixed Guideway Station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u="none" strike="noStrike">
                          <a:effectLst/>
                        </a:rPr>
                        <a:t> 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u="none" strike="noStrike">
                          <a:effectLst/>
                        </a:rPr>
                        <a:t>x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1" u="none" strike="noStrike" dirty="0">
                          <a:effectLst/>
                        </a:rPr>
                        <a:t>x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1" u="none" strike="noStrike" dirty="0">
                          <a:effectLst/>
                        </a:rPr>
                        <a:t>x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FFFF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92415192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u="none" strike="noStrike">
                          <a:effectLst/>
                        </a:rPr>
                        <a:t>Vehicle Blow-Down Facility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u="none" strike="noStrike">
                          <a:effectLst/>
                        </a:rPr>
                        <a:t>x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u="none" strike="noStrike">
                          <a:effectLst/>
                        </a:rPr>
                        <a:t>x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u="none" strike="noStrike">
                          <a:effectLst/>
                        </a:rPr>
                        <a:t> 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u="none" strike="noStrike">
                          <a:effectLst/>
                        </a:rPr>
                        <a:t> 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933202017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u="none" strike="noStrike">
                          <a:effectLst/>
                        </a:rPr>
                        <a:t>Vehicle Fueling Facility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u="none" strike="noStrike">
                          <a:effectLst/>
                        </a:rPr>
                        <a:t>x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u="none" strike="noStrike">
                          <a:effectLst/>
                        </a:rPr>
                        <a:t>x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u="none" strike="noStrike">
                          <a:effectLst/>
                        </a:rPr>
                        <a:t> 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u="none" strike="noStrike">
                          <a:effectLst/>
                        </a:rPr>
                        <a:t> 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160680016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u="none" strike="noStrike">
                          <a:effectLst/>
                        </a:rPr>
                        <a:t>Vehicle Testing Facility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u="none" strike="noStrike" dirty="0">
                          <a:effectLst/>
                        </a:rPr>
                        <a:t>x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u="none" strike="noStrike">
                          <a:effectLst/>
                        </a:rPr>
                        <a:t>x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u="none" strike="noStrike">
                          <a:effectLst/>
                        </a:rPr>
                        <a:t> 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u="none" strike="noStrike">
                          <a:effectLst/>
                        </a:rPr>
                        <a:t> 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803947936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u="none" strike="noStrike" dirty="0">
                          <a:effectLst/>
                        </a:rPr>
                        <a:t>Vehicle Washing Facility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u="none" strike="noStrike">
                          <a:effectLst/>
                        </a:rPr>
                        <a:t>x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u="none" strike="noStrike">
                          <a:effectLst/>
                        </a:rPr>
                        <a:t>x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u="none" strike="noStrike">
                          <a:effectLst/>
                        </a:rPr>
                        <a:t> 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u="none" strike="noStrike" dirty="0">
                          <a:effectLst/>
                        </a:rPr>
                        <a:t> 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23137269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7356658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2"/>
          <p:cNvSpPr>
            <a:spLocks noGrp="1"/>
          </p:cNvSpPr>
          <p:nvPr>
            <p:ph type="body" sz="quarter" idx="4294967295"/>
          </p:nvPr>
        </p:nvSpPr>
        <p:spPr>
          <a:xfrm>
            <a:off x="462684" y="381000"/>
            <a:ext cx="7309716" cy="228600"/>
          </a:xfrm>
          <a:prstGeom prst="rect">
            <a:avLst/>
          </a:prstGeom>
        </p:spPr>
        <p:txBody>
          <a:bodyPr/>
          <a:lstStyle/>
          <a:p>
            <a:pPr>
              <a:spcBef>
                <a:spcPct val="0"/>
              </a:spcBef>
              <a:buNone/>
            </a:pPr>
            <a:r>
              <a:rPr lang="en-US" sz="1100" dirty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rPr>
              <a:t>Transit Asset Management</a:t>
            </a:r>
          </a:p>
        </p:txBody>
      </p:sp>
      <p:sp>
        <p:nvSpPr>
          <p:cNvPr id="4" name="Content Placeholder 2"/>
          <p:cNvSpPr txBox="1">
            <a:spLocks/>
          </p:cNvSpPr>
          <p:nvPr/>
        </p:nvSpPr>
        <p:spPr>
          <a:xfrm>
            <a:off x="462684" y="846217"/>
            <a:ext cx="6774286" cy="403034"/>
          </a:xfrm>
          <a:prstGeom prst="rect">
            <a:avLst/>
          </a:prstGeom>
        </p:spPr>
        <p:txBody>
          <a:bodyPr>
            <a:noAutofit/>
          </a:bodyPr>
          <a:lstStyle>
            <a:lvl1pPr marL="228600" indent="-228600" algn="l" rtl="0" eaLnBrk="1" fontAlgn="base" hangingPunct="1">
              <a:spcBef>
                <a:spcPct val="100000"/>
              </a:spcBef>
              <a:spcAft>
                <a:spcPct val="0"/>
              </a:spcAft>
              <a:buClr>
                <a:srgbClr val="0033CC"/>
              </a:buClr>
              <a:buChar char="•"/>
              <a:defRPr sz="2400" b="1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  <a:lvl2pPr marL="576263" indent="-23336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Font typeface="Arial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cs typeface="+mn-cs"/>
              </a:defRPr>
            </a:lvl2pPr>
            <a:lvl3pPr marL="9144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  <a:cs typeface="+mn-cs"/>
              </a:defRPr>
            </a:lvl3pPr>
            <a:lvl4pPr marL="1262063" indent="-23336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cs typeface="+mn-cs"/>
              </a:defRPr>
            </a:lvl4pPr>
            <a:lvl5pPr marL="16002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cs typeface="+mn-cs"/>
              </a:defRPr>
            </a:lvl5pPr>
            <a:lvl6pPr marL="20574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5146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29718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4290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>
              <a:buFontTx/>
              <a:buNone/>
            </a:pPr>
            <a:r>
              <a:rPr lang="en-US" sz="2000" kern="0" dirty="0" smtClean="0">
                <a:solidFill>
                  <a:srgbClr val="00269E"/>
                </a:solidFill>
              </a:rPr>
              <a:t>NTD Reportable items – Revenue Vehicles</a:t>
            </a:r>
            <a:endParaRPr lang="en-US" sz="2000" b="0" kern="0" dirty="0" smtClean="0"/>
          </a:p>
        </p:txBody>
      </p:sp>
      <p:graphicFrame>
        <p:nvGraphicFramePr>
          <p:cNvPr id="2" name="Table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35106558"/>
              </p:ext>
            </p:extLst>
          </p:nvPr>
        </p:nvGraphicFramePr>
        <p:xfrm>
          <a:off x="1528575" y="1601778"/>
          <a:ext cx="5921853" cy="4351347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3347745">
                  <a:extLst>
                    <a:ext uri="{9D8B030D-6E8A-4147-A177-3AD203B41FA5}">
                      <a16:colId xmlns:a16="http://schemas.microsoft.com/office/drawing/2014/main" val="2549025683"/>
                    </a:ext>
                  </a:extLst>
                </a:gridCol>
                <a:gridCol w="516932">
                  <a:extLst>
                    <a:ext uri="{9D8B030D-6E8A-4147-A177-3AD203B41FA5}">
                      <a16:colId xmlns:a16="http://schemas.microsoft.com/office/drawing/2014/main" val="2844564283"/>
                    </a:ext>
                  </a:extLst>
                </a:gridCol>
                <a:gridCol w="770122">
                  <a:extLst>
                    <a:ext uri="{9D8B030D-6E8A-4147-A177-3AD203B41FA5}">
                      <a16:colId xmlns:a16="http://schemas.microsoft.com/office/drawing/2014/main" val="878438244"/>
                    </a:ext>
                  </a:extLst>
                </a:gridCol>
                <a:gridCol w="516932">
                  <a:extLst>
                    <a:ext uri="{9D8B030D-6E8A-4147-A177-3AD203B41FA5}">
                      <a16:colId xmlns:a16="http://schemas.microsoft.com/office/drawing/2014/main" val="588039151"/>
                    </a:ext>
                  </a:extLst>
                </a:gridCol>
                <a:gridCol w="770122">
                  <a:extLst>
                    <a:ext uri="{9D8B030D-6E8A-4147-A177-3AD203B41FA5}">
                      <a16:colId xmlns:a16="http://schemas.microsoft.com/office/drawing/2014/main" val="3057597583"/>
                    </a:ext>
                  </a:extLst>
                </a:gridCol>
              </a:tblGrid>
              <a:tr h="161161">
                <a:tc>
                  <a:txBody>
                    <a:bodyPr/>
                    <a:lstStyle/>
                    <a:p>
                      <a:pPr algn="l" fontAlgn="ctr"/>
                      <a:r>
                        <a:rPr lang="en-US" sz="900" u="none" strike="noStrike">
                          <a:effectLst/>
                        </a:rPr>
                        <a:t>Revenue Vehicles</a:t>
                      </a:r>
                      <a:endParaRPr lang="en-US" sz="9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/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sz="900" u="none" strike="noStrike">
                          <a:effectLst/>
                        </a:rPr>
                        <a:t>2018</a:t>
                      </a:r>
                      <a:endParaRPr lang="en-US" sz="9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sz="900" u="none" strike="noStrike">
                          <a:effectLst/>
                        </a:rPr>
                        <a:t>2019</a:t>
                      </a:r>
                      <a:endParaRPr lang="en-US" sz="9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2491185"/>
                  </a:ext>
                </a:extLst>
              </a:tr>
              <a:tr h="161161">
                <a:tc>
                  <a:txBody>
                    <a:bodyPr/>
                    <a:lstStyle/>
                    <a:p>
                      <a:pPr algn="l" fontAlgn="ctr"/>
                      <a:r>
                        <a:rPr lang="en-US" sz="900" u="none" strike="noStrike">
                          <a:effectLst/>
                        </a:rPr>
                        <a:t> </a:t>
                      </a:r>
                      <a:endParaRPr lang="en-US" sz="9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900" u="none" strike="noStrike">
                          <a:effectLst/>
                        </a:rPr>
                        <a:t>Transit</a:t>
                      </a:r>
                      <a:endParaRPr lang="en-US" sz="9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900" u="none" strike="noStrike">
                          <a:effectLst/>
                        </a:rPr>
                        <a:t>Comm Rail</a:t>
                      </a:r>
                      <a:endParaRPr lang="en-US" sz="9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900" u="none" strike="noStrike">
                          <a:effectLst/>
                        </a:rPr>
                        <a:t>Transit</a:t>
                      </a:r>
                      <a:endParaRPr lang="en-US" sz="9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900" u="none" strike="noStrike">
                          <a:effectLst/>
                        </a:rPr>
                        <a:t>Comm Rail</a:t>
                      </a:r>
                      <a:endParaRPr lang="en-US" sz="9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/>
                </a:tc>
                <a:extLst>
                  <a:ext uri="{0D108BD9-81ED-4DB2-BD59-A6C34878D82A}">
                    <a16:rowId xmlns:a16="http://schemas.microsoft.com/office/drawing/2014/main" val="190807710"/>
                  </a:ext>
                </a:extLst>
              </a:tr>
              <a:tr h="161161">
                <a:tc>
                  <a:txBody>
                    <a:bodyPr/>
                    <a:lstStyle/>
                    <a:p>
                      <a:pPr algn="l" fontAlgn="ctr"/>
                      <a:r>
                        <a:rPr lang="en-US" sz="900" b="1" u="none" strike="noStrike" dirty="0">
                          <a:effectLst/>
                        </a:rPr>
                        <a:t>Articulated Bus (AB)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u="none" strike="noStrike" dirty="0">
                          <a:effectLst/>
                        </a:rPr>
                        <a:t>x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u="none" strike="noStrike" dirty="0">
                          <a:effectLst/>
                        </a:rPr>
                        <a:t> 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u="none" strike="noStrike" dirty="0">
                          <a:effectLst/>
                        </a:rPr>
                        <a:t>x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u="none" strike="noStrike" dirty="0">
                          <a:effectLst/>
                        </a:rPr>
                        <a:t> 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solidFill>
                      <a:srgbClr val="FFFF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28020947"/>
                  </a:ext>
                </a:extLst>
              </a:tr>
              <a:tr h="161161">
                <a:tc>
                  <a:txBody>
                    <a:bodyPr/>
                    <a:lstStyle/>
                    <a:p>
                      <a:pPr algn="l" fontAlgn="ctr"/>
                      <a:r>
                        <a:rPr lang="en-US" sz="900" u="none" strike="noStrike">
                          <a:effectLst/>
                        </a:rPr>
                        <a:t>Automated Guideway Vehicle (AG)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u="none" strike="noStrike">
                          <a:effectLst/>
                        </a:rPr>
                        <a:t> 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u="none" strike="noStrike" dirty="0">
                          <a:effectLst/>
                        </a:rPr>
                        <a:t> 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u="none" strike="noStrike">
                          <a:effectLst/>
                        </a:rPr>
                        <a:t> 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u="none" strike="noStrike">
                          <a:effectLst/>
                        </a:rPr>
                        <a:t> 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/>
                </a:tc>
                <a:extLst>
                  <a:ext uri="{0D108BD9-81ED-4DB2-BD59-A6C34878D82A}">
                    <a16:rowId xmlns:a16="http://schemas.microsoft.com/office/drawing/2014/main" val="3804772945"/>
                  </a:ext>
                </a:extLst>
              </a:tr>
              <a:tr h="161161">
                <a:tc>
                  <a:txBody>
                    <a:bodyPr/>
                    <a:lstStyle/>
                    <a:p>
                      <a:pPr algn="l" fontAlgn="ctr"/>
                      <a:r>
                        <a:rPr lang="en-US" sz="900" b="1" u="none" strike="noStrike" dirty="0">
                          <a:effectLst/>
                        </a:rPr>
                        <a:t>Automobile (AO)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u="none" strike="noStrike">
                          <a:effectLst/>
                        </a:rPr>
                        <a:t>x</a:t>
                      </a:r>
                      <a:endParaRPr lang="en-US" sz="9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u="none" strike="noStrike">
                          <a:effectLst/>
                        </a:rPr>
                        <a:t> </a:t>
                      </a:r>
                      <a:endParaRPr lang="en-US" sz="9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u="none" strike="noStrike">
                          <a:effectLst/>
                        </a:rPr>
                        <a:t>x</a:t>
                      </a:r>
                      <a:endParaRPr lang="en-US" sz="9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u="none" strike="noStrike">
                          <a:effectLst/>
                        </a:rPr>
                        <a:t> </a:t>
                      </a:r>
                      <a:endParaRPr lang="en-US" sz="9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solidFill>
                      <a:srgbClr val="FFFF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30328456"/>
                  </a:ext>
                </a:extLst>
              </a:tr>
              <a:tr h="161161">
                <a:tc>
                  <a:txBody>
                    <a:bodyPr/>
                    <a:lstStyle/>
                    <a:p>
                      <a:pPr algn="l" fontAlgn="ctr"/>
                      <a:r>
                        <a:rPr lang="en-US" sz="900" b="1" u="none" strike="noStrike" dirty="0">
                          <a:effectLst/>
                        </a:rPr>
                        <a:t>Over-the-road Bus (BR)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u="none" strike="noStrike" dirty="0">
                          <a:effectLst/>
                        </a:rPr>
                        <a:t>x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u="none" strike="noStrike" dirty="0">
                          <a:effectLst/>
                        </a:rPr>
                        <a:t> 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u="none" strike="noStrike">
                          <a:effectLst/>
                        </a:rPr>
                        <a:t>x</a:t>
                      </a:r>
                      <a:endParaRPr lang="en-US" sz="9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u="none" strike="noStrike">
                          <a:effectLst/>
                        </a:rPr>
                        <a:t> </a:t>
                      </a:r>
                      <a:endParaRPr lang="en-US" sz="9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solidFill>
                      <a:srgbClr val="FFFF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57619084"/>
                  </a:ext>
                </a:extLst>
              </a:tr>
              <a:tr h="161161">
                <a:tc>
                  <a:txBody>
                    <a:bodyPr/>
                    <a:lstStyle/>
                    <a:p>
                      <a:pPr algn="l" fontAlgn="ctr"/>
                      <a:r>
                        <a:rPr lang="en-US" sz="900" b="1" u="none" strike="noStrike">
                          <a:effectLst/>
                        </a:rPr>
                        <a:t>Bus (BU)</a:t>
                      </a:r>
                      <a:endParaRPr lang="en-US" sz="9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u="none" strike="noStrike">
                          <a:effectLst/>
                        </a:rPr>
                        <a:t>x</a:t>
                      </a:r>
                      <a:endParaRPr lang="en-US" sz="9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u="none" strike="noStrike" dirty="0">
                          <a:effectLst/>
                        </a:rPr>
                        <a:t> 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u="none" strike="noStrike" dirty="0">
                          <a:effectLst/>
                        </a:rPr>
                        <a:t>x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u="none" strike="noStrike" dirty="0">
                          <a:effectLst/>
                        </a:rPr>
                        <a:t> 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solidFill>
                      <a:srgbClr val="FFFF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28958405"/>
                  </a:ext>
                </a:extLst>
              </a:tr>
              <a:tr h="161161">
                <a:tc>
                  <a:txBody>
                    <a:bodyPr/>
                    <a:lstStyle/>
                    <a:p>
                      <a:pPr algn="l" fontAlgn="ctr"/>
                      <a:r>
                        <a:rPr lang="en-US" sz="900" u="none" strike="noStrike">
                          <a:effectLst/>
                        </a:rPr>
                        <a:t>Cable Car (CC)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u="none" strike="noStrike">
                          <a:effectLst/>
                        </a:rPr>
                        <a:t> 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u="none" strike="noStrike">
                          <a:effectLst/>
                        </a:rPr>
                        <a:t> 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u="none" strike="noStrike">
                          <a:effectLst/>
                        </a:rPr>
                        <a:t> 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u="none" strike="noStrike">
                          <a:effectLst/>
                        </a:rPr>
                        <a:t> 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/>
                </a:tc>
                <a:extLst>
                  <a:ext uri="{0D108BD9-81ED-4DB2-BD59-A6C34878D82A}">
                    <a16:rowId xmlns:a16="http://schemas.microsoft.com/office/drawing/2014/main" val="2728352865"/>
                  </a:ext>
                </a:extLst>
              </a:tr>
              <a:tr h="161161">
                <a:tc>
                  <a:txBody>
                    <a:bodyPr/>
                    <a:lstStyle/>
                    <a:p>
                      <a:pPr algn="l" fontAlgn="ctr"/>
                      <a:r>
                        <a:rPr lang="en-US" sz="900" u="none" strike="noStrike">
                          <a:effectLst/>
                        </a:rPr>
                        <a:t>Cutaway (CU)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u="none" strike="noStrike">
                          <a:effectLst/>
                        </a:rPr>
                        <a:t> 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u="none" strike="noStrike">
                          <a:effectLst/>
                        </a:rPr>
                        <a:t> 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u="none" strike="noStrike">
                          <a:effectLst/>
                        </a:rPr>
                        <a:t> 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u="none" strike="noStrike">
                          <a:effectLst/>
                        </a:rPr>
                        <a:t> 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/>
                </a:tc>
                <a:extLst>
                  <a:ext uri="{0D108BD9-81ED-4DB2-BD59-A6C34878D82A}">
                    <a16:rowId xmlns:a16="http://schemas.microsoft.com/office/drawing/2014/main" val="759517615"/>
                  </a:ext>
                </a:extLst>
              </a:tr>
              <a:tr h="161161">
                <a:tc>
                  <a:txBody>
                    <a:bodyPr/>
                    <a:lstStyle/>
                    <a:p>
                      <a:pPr algn="l" fontAlgn="ctr"/>
                      <a:r>
                        <a:rPr lang="en-US" sz="900" u="none" strike="noStrike">
                          <a:effectLst/>
                        </a:rPr>
                        <a:t>Double Decker Bus (DB)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u="none" strike="noStrike">
                          <a:effectLst/>
                        </a:rPr>
                        <a:t> 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u="none" strike="noStrike">
                          <a:effectLst/>
                        </a:rPr>
                        <a:t> 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u="none" strike="noStrike">
                          <a:effectLst/>
                        </a:rPr>
                        <a:t> 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u="none" strike="noStrike">
                          <a:effectLst/>
                        </a:rPr>
                        <a:t> 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/>
                </a:tc>
                <a:extLst>
                  <a:ext uri="{0D108BD9-81ED-4DB2-BD59-A6C34878D82A}">
                    <a16:rowId xmlns:a16="http://schemas.microsoft.com/office/drawing/2014/main" val="711611576"/>
                  </a:ext>
                </a:extLst>
              </a:tr>
              <a:tr h="161161">
                <a:tc>
                  <a:txBody>
                    <a:bodyPr/>
                    <a:lstStyle/>
                    <a:p>
                      <a:pPr algn="l" fontAlgn="ctr"/>
                      <a:r>
                        <a:rPr lang="en-US" sz="900" b="1" u="none" strike="noStrike" dirty="0">
                          <a:effectLst/>
                        </a:rPr>
                        <a:t>Ferryboat (FB)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u="none" strike="noStrike" dirty="0">
                          <a:effectLst/>
                        </a:rPr>
                        <a:t> 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u="none" strike="noStrike" dirty="0">
                          <a:effectLst/>
                        </a:rPr>
                        <a:t>x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u="none" strike="noStrike" dirty="0">
                          <a:effectLst/>
                        </a:rPr>
                        <a:t> 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u="none" strike="noStrike" dirty="0">
                          <a:effectLst/>
                        </a:rPr>
                        <a:t>x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solidFill>
                      <a:srgbClr val="FFFF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42439215"/>
                  </a:ext>
                </a:extLst>
              </a:tr>
              <a:tr h="161161">
                <a:tc>
                  <a:txBody>
                    <a:bodyPr/>
                    <a:lstStyle/>
                    <a:p>
                      <a:pPr algn="l" fontAlgn="ctr"/>
                      <a:r>
                        <a:rPr lang="en-US" sz="900" b="1" u="none" strike="noStrike" dirty="0">
                          <a:effectLst/>
                        </a:rPr>
                        <a:t>Heavy Rail Passenger Car (HR)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u="none" strike="noStrike">
                          <a:effectLst/>
                        </a:rPr>
                        <a:t>x</a:t>
                      </a:r>
                      <a:endParaRPr lang="en-US" sz="9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u="none" strike="noStrike">
                          <a:effectLst/>
                        </a:rPr>
                        <a:t> </a:t>
                      </a:r>
                      <a:endParaRPr lang="en-US" sz="9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u="none" strike="noStrike">
                          <a:effectLst/>
                        </a:rPr>
                        <a:t>x</a:t>
                      </a:r>
                      <a:endParaRPr lang="en-US" sz="9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u="none" strike="noStrike">
                          <a:effectLst/>
                        </a:rPr>
                        <a:t> </a:t>
                      </a:r>
                      <a:endParaRPr lang="en-US" sz="9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solidFill>
                      <a:srgbClr val="FFFF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36596556"/>
                  </a:ext>
                </a:extLst>
              </a:tr>
              <a:tr h="161161">
                <a:tc>
                  <a:txBody>
                    <a:bodyPr/>
                    <a:lstStyle/>
                    <a:p>
                      <a:pPr algn="l" fontAlgn="ctr"/>
                      <a:r>
                        <a:rPr lang="en-US" sz="900" b="1" u="none" strike="noStrike" dirty="0">
                          <a:effectLst/>
                        </a:rPr>
                        <a:t>Inclined Plane Vehicle (IP)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u="none" strike="noStrike">
                          <a:effectLst/>
                        </a:rPr>
                        <a:t> </a:t>
                      </a:r>
                      <a:endParaRPr lang="en-US" sz="9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u="none" strike="noStrike">
                          <a:effectLst/>
                        </a:rPr>
                        <a:t> </a:t>
                      </a:r>
                      <a:endParaRPr lang="en-US" sz="9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u="none" strike="noStrike">
                          <a:effectLst/>
                        </a:rPr>
                        <a:t> </a:t>
                      </a:r>
                      <a:endParaRPr lang="en-US" sz="9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u="none" strike="noStrike">
                          <a:effectLst/>
                        </a:rPr>
                        <a:t> </a:t>
                      </a:r>
                      <a:endParaRPr lang="en-US" sz="9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solidFill>
                      <a:srgbClr val="FFFF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6739827"/>
                  </a:ext>
                </a:extLst>
              </a:tr>
              <a:tr h="161161">
                <a:tc>
                  <a:txBody>
                    <a:bodyPr/>
                    <a:lstStyle/>
                    <a:p>
                      <a:pPr algn="l" fontAlgn="ctr"/>
                      <a:r>
                        <a:rPr lang="en-US" sz="900" b="1" u="none" strike="noStrike" dirty="0">
                          <a:effectLst/>
                        </a:rPr>
                        <a:t>Light Rail Vehicle (LR)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u="none" strike="noStrike">
                          <a:effectLst/>
                        </a:rPr>
                        <a:t>x</a:t>
                      </a:r>
                      <a:endParaRPr lang="en-US" sz="9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u="none" strike="noStrike">
                          <a:effectLst/>
                        </a:rPr>
                        <a:t> </a:t>
                      </a:r>
                      <a:endParaRPr lang="en-US" sz="9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u="none" strike="noStrike">
                          <a:effectLst/>
                        </a:rPr>
                        <a:t>x</a:t>
                      </a:r>
                      <a:endParaRPr lang="en-US" sz="9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u="none" strike="noStrike">
                          <a:effectLst/>
                        </a:rPr>
                        <a:t> </a:t>
                      </a:r>
                      <a:endParaRPr lang="en-US" sz="9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solidFill>
                      <a:srgbClr val="FFFF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30135878"/>
                  </a:ext>
                </a:extLst>
              </a:tr>
              <a:tr h="161161">
                <a:tc>
                  <a:txBody>
                    <a:bodyPr/>
                    <a:lstStyle/>
                    <a:p>
                      <a:pPr algn="l" fontAlgn="ctr"/>
                      <a:r>
                        <a:rPr lang="en-US" sz="900" b="1" u="none" strike="noStrike" dirty="0">
                          <a:effectLst/>
                        </a:rPr>
                        <a:t>Monorail Vehicle (MO)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u="none" strike="noStrike">
                          <a:effectLst/>
                        </a:rPr>
                        <a:t> </a:t>
                      </a:r>
                      <a:endParaRPr lang="en-US" sz="9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u="none" strike="noStrike">
                          <a:effectLst/>
                        </a:rPr>
                        <a:t> </a:t>
                      </a:r>
                      <a:endParaRPr lang="en-US" sz="9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u="none" strike="noStrike">
                          <a:effectLst/>
                        </a:rPr>
                        <a:t> </a:t>
                      </a:r>
                      <a:endParaRPr lang="en-US" sz="9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u="none" strike="noStrike">
                          <a:effectLst/>
                        </a:rPr>
                        <a:t> </a:t>
                      </a:r>
                      <a:endParaRPr lang="en-US" sz="9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solidFill>
                      <a:srgbClr val="FFFF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52027544"/>
                  </a:ext>
                </a:extLst>
              </a:tr>
              <a:tr h="161161">
                <a:tc>
                  <a:txBody>
                    <a:bodyPr/>
                    <a:lstStyle/>
                    <a:p>
                      <a:pPr algn="l" fontAlgn="ctr"/>
                      <a:r>
                        <a:rPr lang="en-US" sz="900" b="1" u="none" strike="noStrike" dirty="0">
                          <a:effectLst/>
                        </a:rPr>
                        <a:t>Minivan (MV)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u="none" strike="noStrike" dirty="0">
                          <a:effectLst/>
                        </a:rPr>
                        <a:t>x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u="none" strike="noStrike" dirty="0">
                          <a:effectLst/>
                        </a:rPr>
                        <a:t> 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u="none" strike="noStrike">
                          <a:effectLst/>
                        </a:rPr>
                        <a:t>x</a:t>
                      </a:r>
                      <a:endParaRPr lang="en-US" sz="9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u="none" strike="noStrike">
                          <a:effectLst/>
                        </a:rPr>
                        <a:t> </a:t>
                      </a:r>
                      <a:endParaRPr lang="en-US" sz="9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solidFill>
                      <a:srgbClr val="FFFF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81793148"/>
                  </a:ext>
                </a:extLst>
              </a:tr>
              <a:tr h="161161">
                <a:tc>
                  <a:txBody>
                    <a:bodyPr/>
                    <a:lstStyle/>
                    <a:p>
                      <a:pPr algn="l" fontAlgn="ctr"/>
                      <a:r>
                        <a:rPr lang="en-US" sz="900" b="1" u="none" strike="noStrike">
                          <a:effectLst/>
                        </a:rPr>
                        <a:t>Other (OR)</a:t>
                      </a:r>
                      <a:endParaRPr lang="en-US" sz="9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u="none" strike="noStrike">
                          <a:effectLst/>
                        </a:rPr>
                        <a:t>x</a:t>
                      </a:r>
                      <a:endParaRPr lang="en-US" sz="9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u="none" strike="noStrike" dirty="0">
                          <a:effectLst/>
                        </a:rPr>
                        <a:t> 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u="none" strike="noStrike" dirty="0">
                          <a:effectLst/>
                        </a:rPr>
                        <a:t>x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u="none" strike="noStrike" dirty="0">
                          <a:effectLst/>
                        </a:rPr>
                        <a:t> 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solidFill>
                      <a:srgbClr val="FFFF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45150615"/>
                  </a:ext>
                </a:extLst>
              </a:tr>
              <a:tr h="161161">
                <a:tc>
                  <a:txBody>
                    <a:bodyPr/>
                    <a:lstStyle/>
                    <a:p>
                      <a:pPr algn="l" fontAlgn="ctr"/>
                      <a:r>
                        <a:rPr lang="en-US" sz="900" b="1" u="none" strike="noStrike">
                          <a:effectLst/>
                        </a:rPr>
                        <a:t>Commuter Rail Locomotive (RL)</a:t>
                      </a:r>
                      <a:endParaRPr lang="en-US" sz="9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u="none" strike="noStrike">
                          <a:effectLst/>
                        </a:rPr>
                        <a:t> </a:t>
                      </a:r>
                      <a:endParaRPr lang="en-US" sz="9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u="none" strike="noStrike">
                          <a:effectLst/>
                        </a:rPr>
                        <a:t>x</a:t>
                      </a:r>
                      <a:endParaRPr lang="en-US" sz="9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u="none" strike="noStrike">
                          <a:effectLst/>
                        </a:rPr>
                        <a:t> </a:t>
                      </a:r>
                      <a:endParaRPr lang="en-US" sz="9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u="none" strike="noStrike" dirty="0">
                          <a:effectLst/>
                        </a:rPr>
                        <a:t>x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solidFill>
                      <a:srgbClr val="FFFF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70892559"/>
                  </a:ext>
                </a:extLst>
              </a:tr>
              <a:tr h="161161">
                <a:tc>
                  <a:txBody>
                    <a:bodyPr/>
                    <a:lstStyle/>
                    <a:p>
                      <a:pPr algn="l" fontAlgn="ctr"/>
                      <a:r>
                        <a:rPr lang="en-US" sz="900" b="1" u="none" strike="noStrike">
                          <a:effectLst/>
                        </a:rPr>
                        <a:t>Commuter Rail Passenger Coach (RP)</a:t>
                      </a:r>
                      <a:endParaRPr lang="en-US" sz="9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u="none" strike="noStrike">
                          <a:effectLst/>
                        </a:rPr>
                        <a:t> </a:t>
                      </a:r>
                      <a:endParaRPr lang="en-US" sz="9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u="none" strike="noStrike">
                          <a:effectLst/>
                        </a:rPr>
                        <a:t>x</a:t>
                      </a:r>
                      <a:endParaRPr lang="en-US" sz="9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u="none" strike="noStrike">
                          <a:effectLst/>
                        </a:rPr>
                        <a:t> </a:t>
                      </a:r>
                      <a:endParaRPr lang="en-US" sz="9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u="none" strike="noStrike" dirty="0">
                          <a:effectLst/>
                        </a:rPr>
                        <a:t>x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solidFill>
                      <a:srgbClr val="FFFF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84368440"/>
                  </a:ext>
                </a:extLst>
              </a:tr>
              <a:tr h="161161">
                <a:tc>
                  <a:txBody>
                    <a:bodyPr/>
                    <a:lstStyle/>
                    <a:p>
                      <a:pPr algn="l" fontAlgn="ctr"/>
                      <a:r>
                        <a:rPr lang="en-US" sz="900" u="none" strike="noStrike">
                          <a:effectLst/>
                        </a:rPr>
                        <a:t>Commuter Rail Self-Propelled Passenger Car (RS)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u="none" strike="noStrike">
                          <a:effectLst/>
                        </a:rPr>
                        <a:t> 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u="none" strike="noStrike">
                          <a:effectLst/>
                        </a:rPr>
                        <a:t> 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u="none" strike="noStrike">
                          <a:effectLst/>
                        </a:rPr>
                        <a:t> 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u="none" strike="noStrike" dirty="0">
                          <a:effectLst/>
                        </a:rPr>
                        <a:t> 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/>
                </a:tc>
                <a:extLst>
                  <a:ext uri="{0D108BD9-81ED-4DB2-BD59-A6C34878D82A}">
                    <a16:rowId xmlns:a16="http://schemas.microsoft.com/office/drawing/2014/main" val="1736832688"/>
                  </a:ext>
                </a:extLst>
              </a:tr>
              <a:tr h="161161">
                <a:tc>
                  <a:txBody>
                    <a:bodyPr/>
                    <a:lstStyle/>
                    <a:p>
                      <a:pPr algn="l" fontAlgn="ctr"/>
                      <a:r>
                        <a:rPr lang="en-US" sz="900" u="none" strike="noStrike">
                          <a:effectLst/>
                        </a:rPr>
                        <a:t>School Bus (SB)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u="none" strike="noStrike">
                          <a:effectLst/>
                        </a:rPr>
                        <a:t> 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u="none" strike="noStrike">
                          <a:effectLst/>
                        </a:rPr>
                        <a:t> 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u="none" strike="noStrike">
                          <a:effectLst/>
                        </a:rPr>
                        <a:t> 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u="none" strike="noStrike">
                          <a:effectLst/>
                        </a:rPr>
                        <a:t> 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/>
                </a:tc>
                <a:extLst>
                  <a:ext uri="{0D108BD9-81ED-4DB2-BD59-A6C34878D82A}">
                    <a16:rowId xmlns:a16="http://schemas.microsoft.com/office/drawing/2014/main" val="3997336404"/>
                  </a:ext>
                </a:extLst>
              </a:tr>
              <a:tr h="161161">
                <a:tc>
                  <a:txBody>
                    <a:bodyPr/>
                    <a:lstStyle/>
                    <a:p>
                      <a:pPr algn="l" fontAlgn="ctr"/>
                      <a:r>
                        <a:rPr lang="en-US" sz="900" u="none" strike="noStrike">
                          <a:effectLst/>
                        </a:rPr>
                        <a:t>Streetcar Rail (SR)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u="none" strike="noStrike">
                          <a:effectLst/>
                        </a:rPr>
                        <a:t> 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u="none" strike="noStrike">
                          <a:effectLst/>
                        </a:rPr>
                        <a:t> 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u="none" strike="noStrike">
                          <a:effectLst/>
                        </a:rPr>
                        <a:t> 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u="none" strike="noStrike">
                          <a:effectLst/>
                        </a:rPr>
                        <a:t> 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/>
                </a:tc>
                <a:extLst>
                  <a:ext uri="{0D108BD9-81ED-4DB2-BD59-A6C34878D82A}">
                    <a16:rowId xmlns:a16="http://schemas.microsoft.com/office/drawing/2014/main" val="1545708774"/>
                  </a:ext>
                </a:extLst>
              </a:tr>
              <a:tr h="161161">
                <a:tc>
                  <a:txBody>
                    <a:bodyPr/>
                    <a:lstStyle/>
                    <a:p>
                      <a:pPr algn="l" fontAlgn="ctr"/>
                      <a:r>
                        <a:rPr lang="en-US" sz="900" b="1" u="none" strike="noStrike" dirty="0">
                          <a:effectLst/>
                        </a:rPr>
                        <a:t>Sports Utility Vehicle (SV)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u="none" strike="noStrike" dirty="0">
                          <a:effectLst/>
                        </a:rPr>
                        <a:t>x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u="none" strike="noStrike" dirty="0">
                          <a:effectLst/>
                        </a:rPr>
                        <a:t> 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u="none" strike="noStrike" dirty="0">
                          <a:effectLst/>
                        </a:rPr>
                        <a:t>x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u="none" strike="noStrike">
                          <a:effectLst/>
                        </a:rPr>
                        <a:t> </a:t>
                      </a:r>
                      <a:endParaRPr lang="en-US" sz="9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solidFill>
                      <a:srgbClr val="FFFF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3191382"/>
                  </a:ext>
                </a:extLst>
              </a:tr>
              <a:tr h="161161">
                <a:tc>
                  <a:txBody>
                    <a:bodyPr/>
                    <a:lstStyle/>
                    <a:p>
                      <a:pPr algn="l" fontAlgn="ctr"/>
                      <a:r>
                        <a:rPr lang="en-US" sz="900" b="1" u="none" strike="noStrike" dirty="0">
                          <a:effectLst/>
                        </a:rPr>
                        <a:t>Trolleybus (TB)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u="none" strike="noStrike" dirty="0">
                          <a:effectLst/>
                        </a:rPr>
                        <a:t>x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u="none" strike="noStrike" dirty="0">
                          <a:effectLst/>
                        </a:rPr>
                        <a:t> 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u="none" strike="noStrike" dirty="0">
                          <a:effectLst/>
                        </a:rPr>
                        <a:t>x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u="none" strike="noStrike" dirty="0">
                          <a:effectLst/>
                        </a:rPr>
                        <a:t> 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solidFill>
                      <a:srgbClr val="FFFF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67511762"/>
                  </a:ext>
                </a:extLst>
              </a:tr>
              <a:tr h="161161">
                <a:tc>
                  <a:txBody>
                    <a:bodyPr/>
                    <a:lstStyle/>
                    <a:p>
                      <a:pPr algn="l" fontAlgn="ctr"/>
                      <a:r>
                        <a:rPr lang="en-US" sz="900" u="none" strike="noStrike">
                          <a:effectLst/>
                        </a:rPr>
                        <a:t>Aerial Tramway (TR)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u="none" strike="noStrike">
                          <a:effectLst/>
                        </a:rPr>
                        <a:t> 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u="none" strike="noStrike">
                          <a:effectLst/>
                        </a:rPr>
                        <a:t> 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u="none" strike="noStrike" dirty="0">
                          <a:effectLst/>
                        </a:rPr>
                        <a:t> 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u="none" strike="noStrike" dirty="0">
                          <a:effectLst/>
                        </a:rPr>
                        <a:t> 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/>
                </a:tc>
                <a:extLst>
                  <a:ext uri="{0D108BD9-81ED-4DB2-BD59-A6C34878D82A}">
                    <a16:rowId xmlns:a16="http://schemas.microsoft.com/office/drawing/2014/main" val="4196784712"/>
                  </a:ext>
                </a:extLst>
              </a:tr>
              <a:tr h="161161">
                <a:tc>
                  <a:txBody>
                    <a:bodyPr/>
                    <a:lstStyle/>
                    <a:p>
                      <a:pPr algn="l" fontAlgn="ctr"/>
                      <a:r>
                        <a:rPr lang="en-US" sz="900" b="1" u="none" strike="noStrike" dirty="0">
                          <a:effectLst/>
                        </a:rPr>
                        <a:t>Van (VN)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u="none" strike="noStrike" dirty="0">
                          <a:effectLst/>
                        </a:rPr>
                        <a:t>x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u="none" strike="noStrike" dirty="0">
                          <a:effectLst/>
                        </a:rPr>
                        <a:t> 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u="none" strike="noStrike">
                          <a:effectLst/>
                        </a:rPr>
                        <a:t>x</a:t>
                      </a:r>
                      <a:endParaRPr lang="en-US" sz="9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u="none" strike="noStrike" dirty="0">
                          <a:effectLst/>
                        </a:rPr>
                        <a:t> 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solidFill>
                      <a:srgbClr val="FFFF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31208548"/>
                  </a:ext>
                </a:extLst>
              </a:tr>
              <a:tr h="161161">
                <a:tc>
                  <a:txBody>
                    <a:bodyPr/>
                    <a:lstStyle/>
                    <a:p>
                      <a:pPr algn="l" fontAlgn="ctr"/>
                      <a:r>
                        <a:rPr lang="en-US" sz="900" b="1" u="none" strike="noStrike">
                          <a:effectLst/>
                        </a:rPr>
                        <a:t>Vintage Trolley (VT)</a:t>
                      </a:r>
                      <a:endParaRPr lang="en-US" sz="9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u="none" strike="noStrike">
                          <a:effectLst/>
                        </a:rPr>
                        <a:t>x</a:t>
                      </a:r>
                      <a:endParaRPr lang="en-US" sz="9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u="none" strike="noStrike" dirty="0">
                          <a:effectLst/>
                        </a:rPr>
                        <a:t> 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u="none" strike="noStrike" dirty="0">
                          <a:effectLst/>
                        </a:rPr>
                        <a:t>x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u="none" strike="noStrike" dirty="0">
                          <a:effectLst/>
                        </a:rPr>
                        <a:t> 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ctr">
                    <a:solidFill>
                      <a:srgbClr val="FFFF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337760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366027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2"/>
          <p:cNvSpPr>
            <a:spLocks noGrp="1"/>
          </p:cNvSpPr>
          <p:nvPr>
            <p:ph type="body" sz="quarter" idx="4294967295"/>
          </p:nvPr>
        </p:nvSpPr>
        <p:spPr>
          <a:xfrm>
            <a:off x="462684" y="381000"/>
            <a:ext cx="7309716" cy="228600"/>
          </a:xfrm>
          <a:prstGeom prst="rect">
            <a:avLst/>
          </a:prstGeom>
        </p:spPr>
        <p:txBody>
          <a:bodyPr/>
          <a:lstStyle/>
          <a:p>
            <a:pPr>
              <a:spcBef>
                <a:spcPct val="0"/>
              </a:spcBef>
              <a:buNone/>
            </a:pPr>
            <a:r>
              <a:rPr lang="en-US" sz="1100" dirty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rPr>
              <a:t>Transit Asset Management</a:t>
            </a:r>
          </a:p>
        </p:txBody>
      </p:sp>
      <p:sp>
        <p:nvSpPr>
          <p:cNvPr id="4" name="Content Placeholder 2"/>
          <p:cNvSpPr txBox="1">
            <a:spLocks/>
          </p:cNvSpPr>
          <p:nvPr/>
        </p:nvSpPr>
        <p:spPr>
          <a:xfrm>
            <a:off x="462684" y="846217"/>
            <a:ext cx="6774286" cy="403034"/>
          </a:xfrm>
          <a:prstGeom prst="rect">
            <a:avLst/>
          </a:prstGeom>
        </p:spPr>
        <p:txBody>
          <a:bodyPr>
            <a:noAutofit/>
          </a:bodyPr>
          <a:lstStyle>
            <a:lvl1pPr marL="228600" indent="-228600" algn="l" rtl="0" eaLnBrk="1" fontAlgn="base" hangingPunct="1">
              <a:spcBef>
                <a:spcPct val="100000"/>
              </a:spcBef>
              <a:spcAft>
                <a:spcPct val="0"/>
              </a:spcAft>
              <a:buClr>
                <a:srgbClr val="0033CC"/>
              </a:buClr>
              <a:buChar char="•"/>
              <a:defRPr sz="2400" b="1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  <a:lvl2pPr marL="576263" indent="-23336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Font typeface="Arial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cs typeface="+mn-cs"/>
              </a:defRPr>
            </a:lvl2pPr>
            <a:lvl3pPr marL="9144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  <a:cs typeface="+mn-cs"/>
              </a:defRPr>
            </a:lvl3pPr>
            <a:lvl4pPr marL="1262063" indent="-23336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cs typeface="+mn-cs"/>
              </a:defRPr>
            </a:lvl4pPr>
            <a:lvl5pPr marL="16002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cs typeface="+mn-cs"/>
              </a:defRPr>
            </a:lvl5pPr>
            <a:lvl6pPr marL="20574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5146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29718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4290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>
              <a:buFontTx/>
              <a:buNone/>
            </a:pPr>
            <a:r>
              <a:rPr lang="en-US" sz="2000" kern="0" dirty="0" smtClean="0">
                <a:solidFill>
                  <a:srgbClr val="00269E"/>
                </a:solidFill>
              </a:rPr>
              <a:t>NTD Reportable items – Service Vehicles</a:t>
            </a:r>
            <a:endParaRPr lang="en-US" sz="2000" b="0" kern="0" dirty="0" smtClean="0"/>
          </a:p>
        </p:txBody>
      </p:sp>
      <p:graphicFrame>
        <p:nvGraphicFramePr>
          <p:cNvPr id="2" name="Table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96658919"/>
              </p:ext>
            </p:extLst>
          </p:nvPr>
        </p:nvGraphicFramePr>
        <p:xfrm>
          <a:off x="1764254" y="3087162"/>
          <a:ext cx="5472716" cy="95250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751230">
                  <a:extLst>
                    <a:ext uri="{9D8B030D-6E8A-4147-A177-3AD203B41FA5}">
                      <a16:colId xmlns:a16="http://schemas.microsoft.com/office/drawing/2014/main" val="2835094880"/>
                    </a:ext>
                  </a:extLst>
                </a:gridCol>
                <a:gridCol w="546528">
                  <a:extLst>
                    <a:ext uri="{9D8B030D-6E8A-4147-A177-3AD203B41FA5}">
                      <a16:colId xmlns:a16="http://schemas.microsoft.com/office/drawing/2014/main" val="3727425235"/>
                    </a:ext>
                  </a:extLst>
                </a:gridCol>
                <a:gridCol w="814215">
                  <a:extLst>
                    <a:ext uri="{9D8B030D-6E8A-4147-A177-3AD203B41FA5}">
                      <a16:colId xmlns:a16="http://schemas.microsoft.com/office/drawing/2014/main" val="1498374813"/>
                    </a:ext>
                  </a:extLst>
                </a:gridCol>
                <a:gridCol w="546528">
                  <a:extLst>
                    <a:ext uri="{9D8B030D-6E8A-4147-A177-3AD203B41FA5}">
                      <a16:colId xmlns:a16="http://schemas.microsoft.com/office/drawing/2014/main" val="1479470725"/>
                    </a:ext>
                  </a:extLst>
                </a:gridCol>
                <a:gridCol w="814215">
                  <a:extLst>
                    <a:ext uri="{9D8B030D-6E8A-4147-A177-3AD203B41FA5}">
                      <a16:colId xmlns:a16="http://schemas.microsoft.com/office/drawing/2014/main" val="3379225285"/>
                    </a:ext>
                  </a:extLst>
                </a:gridCol>
              </a:tblGrid>
              <a:tr h="19050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u="none" strike="noStrike">
                          <a:effectLst/>
                        </a:rPr>
                        <a:t>Service Vehicles</a:t>
                      </a:r>
                      <a:endParaRPr lang="en-US" sz="11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sz="1100" u="none" strike="noStrike">
                          <a:effectLst/>
                        </a:rPr>
                        <a:t>2018</a:t>
                      </a:r>
                      <a:endParaRPr lang="en-US" sz="11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sz="1100" u="none" strike="noStrike">
                          <a:effectLst/>
                        </a:rPr>
                        <a:t>2018</a:t>
                      </a:r>
                      <a:endParaRPr lang="en-US" sz="11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94623813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u="none" strike="noStrike">
                          <a:effectLst/>
                        </a:rPr>
                        <a:t> </a:t>
                      </a:r>
                      <a:endParaRPr lang="en-US" sz="11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u="none" strike="noStrike">
                          <a:effectLst/>
                        </a:rPr>
                        <a:t>Transit</a:t>
                      </a:r>
                      <a:endParaRPr lang="en-US" sz="11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u="none" strike="noStrike">
                          <a:effectLst/>
                        </a:rPr>
                        <a:t>Comm Rail</a:t>
                      </a:r>
                      <a:endParaRPr lang="en-US" sz="11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u="none" strike="noStrike">
                          <a:effectLst/>
                        </a:rPr>
                        <a:t>Transit</a:t>
                      </a:r>
                      <a:endParaRPr lang="en-US" sz="11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u="none" strike="noStrike">
                          <a:effectLst/>
                        </a:rPr>
                        <a:t>Comm Rail</a:t>
                      </a:r>
                      <a:endParaRPr lang="en-US" sz="11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285590692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u="none" strike="noStrike">
                          <a:effectLst/>
                        </a:rPr>
                        <a:t>Automobiles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u="none" strike="noStrike">
                          <a:effectLst/>
                        </a:rPr>
                        <a:t>x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u="none" strike="noStrike">
                          <a:effectLst/>
                        </a:rPr>
                        <a:t>x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u="none" strike="noStrike">
                          <a:effectLst/>
                        </a:rPr>
                        <a:t>x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u="none" strike="noStrike">
                          <a:effectLst/>
                        </a:rPr>
                        <a:t>x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259592511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u="none" strike="noStrike">
                          <a:effectLst/>
                        </a:rPr>
                        <a:t>Trucks and other Rubber Tire Vehicles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u="none" strike="noStrike">
                          <a:effectLst/>
                        </a:rPr>
                        <a:t>x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u="none" strike="noStrike">
                          <a:effectLst/>
                        </a:rPr>
                        <a:t>x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u="none" strike="noStrike">
                          <a:effectLst/>
                        </a:rPr>
                        <a:t>x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u="none" strike="noStrike">
                          <a:effectLst/>
                        </a:rPr>
                        <a:t>x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70446231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u="none" strike="noStrike">
                          <a:effectLst/>
                        </a:rPr>
                        <a:t>Steel Wheel Vehicles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u="none" strike="noStrike">
                          <a:effectLst/>
                        </a:rPr>
                        <a:t>x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u="none" strike="noStrike">
                          <a:effectLst/>
                        </a:rPr>
                        <a:t>x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u="none" strike="noStrike">
                          <a:effectLst/>
                        </a:rPr>
                        <a:t>x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u="none" strike="noStrike" dirty="0">
                          <a:effectLst/>
                        </a:rPr>
                        <a:t>x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51578065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110827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462685" y="766910"/>
            <a:ext cx="7751547" cy="466344"/>
          </a:xfrm>
        </p:spPr>
        <p:txBody>
          <a:bodyPr/>
          <a:lstStyle/>
          <a:p>
            <a:r>
              <a:rPr lang="en-US" sz="1800" dirty="0" smtClean="0"/>
              <a:t>MBTA Asset Management Program Goals - RECAP </a:t>
            </a:r>
            <a:endParaRPr lang="en-US" sz="1800" dirty="0"/>
          </a:p>
        </p:txBody>
      </p:sp>
      <p:sp>
        <p:nvSpPr>
          <p:cNvPr id="6" name="TextBox 5"/>
          <p:cNvSpPr txBox="1"/>
          <p:nvPr/>
        </p:nvSpPr>
        <p:spPr>
          <a:xfrm>
            <a:off x="603682" y="1447060"/>
            <a:ext cx="8043168" cy="46628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lvl="1"/>
            <a:r>
              <a:rPr lang="en-US" dirty="0" smtClean="0"/>
              <a:t>MBTA </a:t>
            </a:r>
            <a:r>
              <a:rPr lang="en-US" dirty="0"/>
              <a:t>Asset Management Program </a:t>
            </a:r>
            <a:r>
              <a:rPr lang="en-US" dirty="0" smtClean="0"/>
              <a:t>provides </a:t>
            </a:r>
            <a:r>
              <a:rPr lang="en-US" dirty="0"/>
              <a:t>policies, processes, and systems to</a:t>
            </a:r>
            <a:r>
              <a:rPr lang="en-US" dirty="0" smtClean="0"/>
              <a:t>:</a:t>
            </a:r>
          </a:p>
          <a:p>
            <a:pPr marL="0" lvl="1"/>
            <a:endParaRPr lang="en-US" dirty="0"/>
          </a:p>
          <a:p>
            <a:pPr marL="568325" lvl="2" indent="-338138">
              <a:buFont typeface="+mj-lt"/>
              <a:buAutoNum type="arabicPeriod"/>
            </a:pPr>
            <a:r>
              <a:rPr lang="en-US" sz="1500" dirty="0"/>
              <a:t>Meet or exceed service delivery goals by achieving and maintaining a </a:t>
            </a:r>
            <a:r>
              <a:rPr lang="en-US" sz="1500" b="1" dirty="0"/>
              <a:t>state of good repair </a:t>
            </a:r>
            <a:r>
              <a:rPr lang="en-US" sz="1500" dirty="0"/>
              <a:t>for all MBTA assets </a:t>
            </a:r>
            <a:endParaRPr lang="en-US" sz="1500" dirty="0" smtClean="0"/>
          </a:p>
          <a:p>
            <a:pPr marL="568325" lvl="2" indent="-338138">
              <a:buFont typeface="+mj-lt"/>
              <a:buAutoNum type="arabicPeriod"/>
            </a:pPr>
            <a:endParaRPr lang="en-US" sz="1500" dirty="0"/>
          </a:p>
          <a:p>
            <a:pPr marL="568325" lvl="2" indent="-338138">
              <a:buFont typeface="+mj-lt"/>
              <a:buAutoNum type="arabicPeriod"/>
            </a:pPr>
            <a:r>
              <a:rPr lang="en-US" sz="1500" dirty="0"/>
              <a:t>Effectively identify, prioritize, and manage </a:t>
            </a:r>
            <a:r>
              <a:rPr lang="en-US" sz="1500" b="1" dirty="0" smtClean="0"/>
              <a:t>safety</a:t>
            </a:r>
            <a:r>
              <a:rPr lang="en-US" sz="1500" dirty="0" smtClean="0"/>
              <a:t>, risk, reliability, and performance.</a:t>
            </a:r>
          </a:p>
          <a:p>
            <a:pPr marL="568325" lvl="2" indent="-338138">
              <a:buFont typeface="+mj-lt"/>
              <a:buAutoNum type="arabicPeriod"/>
            </a:pPr>
            <a:endParaRPr lang="en-US" sz="1500" dirty="0"/>
          </a:p>
          <a:p>
            <a:pPr marL="568325" lvl="2" indent="-338138">
              <a:buFont typeface="+mj-lt"/>
              <a:buAutoNum type="arabicPeriod"/>
            </a:pPr>
            <a:r>
              <a:rPr lang="en-US" sz="1500" dirty="0"/>
              <a:t>Enable transparent, consistent, and data-driven decision making for </a:t>
            </a:r>
            <a:r>
              <a:rPr lang="en-US" sz="1500" b="1" dirty="0"/>
              <a:t>investment prioritization </a:t>
            </a:r>
            <a:r>
              <a:rPr lang="en-US" sz="1500" dirty="0"/>
              <a:t>across asset </a:t>
            </a:r>
            <a:r>
              <a:rPr lang="en-US" sz="1500" dirty="0" smtClean="0"/>
              <a:t>classes</a:t>
            </a:r>
          </a:p>
          <a:p>
            <a:pPr marL="568325" lvl="2" indent="-338138">
              <a:buFont typeface="+mj-lt"/>
              <a:buAutoNum type="arabicPeriod"/>
            </a:pPr>
            <a:endParaRPr lang="en-US" sz="1500" dirty="0"/>
          </a:p>
          <a:p>
            <a:pPr marL="568325" lvl="2" indent="-338138">
              <a:buFont typeface="+mj-lt"/>
              <a:buAutoNum type="arabicPeriod"/>
            </a:pPr>
            <a:r>
              <a:rPr lang="en-US" sz="1500" dirty="0"/>
              <a:t>Continue and sustain the MBTA’s </a:t>
            </a:r>
            <a:r>
              <a:rPr lang="en-US" sz="1500" b="1" dirty="0"/>
              <a:t>fiscal discipline </a:t>
            </a:r>
            <a:r>
              <a:rPr lang="en-US" sz="1500" dirty="0"/>
              <a:t>by optimizing available resources through lifecycle management, reliability-centered maintenance, business process improvements, and other best </a:t>
            </a:r>
            <a:r>
              <a:rPr lang="en-US" sz="1500" dirty="0" smtClean="0"/>
              <a:t>practices</a:t>
            </a:r>
          </a:p>
          <a:p>
            <a:pPr marL="568325" lvl="2" indent="-338138">
              <a:buFont typeface="+mj-lt"/>
              <a:buAutoNum type="arabicPeriod"/>
            </a:pPr>
            <a:endParaRPr lang="en-US" sz="1500" dirty="0"/>
          </a:p>
          <a:p>
            <a:pPr marL="568325" lvl="2" indent="-338138">
              <a:buFont typeface="+mj-lt"/>
              <a:buAutoNum type="arabicPeriod"/>
            </a:pPr>
            <a:r>
              <a:rPr lang="en-US" sz="1500" dirty="0"/>
              <a:t>Achieve </a:t>
            </a:r>
            <a:r>
              <a:rPr lang="en-US" sz="1500" b="1" dirty="0"/>
              <a:t>compliance</a:t>
            </a:r>
            <a:r>
              <a:rPr lang="en-US" sz="1500" dirty="0"/>
              <a:t> with Federal and State requirements and serve as a leader among peer agencies</a:t>
            </a:r>
          </a:p>
          <a:p>
            <a:pPr marL="342900" indent="-342900"/>
            <a:endParaRPr lang="en-US" b="1" u="sng" dirty="0" smtClean="0">
              <a:latin typeface="+mj-lt"/>
            </a:endParaRPr>
          </a:p>
        </p:txBody>
      </p:sp>
      <p:sp>
        <p:nvSpPr>
          <p:cNvPr id="7" name="Text Placeholder 2"/>
          <p:cNvSpPr>
            <a:spLocks noGrp="1"/>
          </p:cNvSpPr>
          <p:nvPr>
            <p:ph type="body" sz="quarter" idx="4294967295"/>
          </p:nvPr>
        </p:nvSpPr>
        <p:spPr>
          <a:xfrm>
            <a:off x="462684" y="381000"/>
            <a:ext cx="7309716" cy="228600"/>
          </a:xfrm>
          <a:prstGeom prst="rect">
            <a:avLst/>
          </a:prstGeom>
        </p:spPr>
        <p:txBody>
          <a:bodyPr/>
          <a:lstStyle/>
          <a:p>
            <a:pPr>
              <a:spcBef>
                <a:spcPct val="0"/>
              </a:spcBef>
              <a:buNone/>
            </a:pPr>
            <a:r>
              <a:rPr lang="en-US" sz="1100" dirty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rPr>
              <a:t>Transit Asset Management</a:t>
            </a:r>
          </a:p>
        </p:txBody>
      </p:sp>
      <p:grpSp>
        <p:nvGrpSpPr>
          <p:cNvPr id="5" name="Group 4"/>
          <p:cNvGrpSpPr/>
          <p:nvPr/>
        </p:nvGrpSpPr>
        <p:grpSpPr>
          <a:xfrm>
            <a:off x="2616007" y="186153"/>
            <a:ext cx="4018517" cy="502102"/>
            <a:chOff x="238568" y="4272678"/>
            <a:chExt cx="8967365" cy="1143000"/>
          </a:xfrm>
        </p:grpSpPr>
        <p:grpSp>
          <p:nvGrpSpPr>
            <p:cNvPr id="8" name="Group 7"/>
            <p:cNvGrpSpPr/>
            <p:nvPr/>
          </p:nvGrpSpPr>
          <p:grpSpPr>
            <a:xfrm>
              <a:off x="2410491" y="4272678"/>
              <a:ext cx="6795442" cy="1143000"/>
              <a:chOff x="723386" y="1568922"/>
              <a:chExt cx="6795442" cy="1143000"/>
            </a:xfrm>
          </p:grpSpPr>
          <p:pic>
            <p:nvPicPr>
              <p:cNvPr id="17" name="Picture 16"/>
              <p:cNvPicPr>
                <a:picLocks noChangeAspect="1"/>
              </p:cNvPicPr>
              <p:nvPr/>
            </p:nvPicPr>
            <p:blipFill>
              <a:blip r:embed="rId2"/>
              <a:stretch>
                <a:fillRect/>
              </a:stretch>
            </p:blipFill>
            <p:spPr>
              <a:xfrm>
                <a:off x="723386" y="1592734"/>
                <a:ext cx="1104900" cy="1095375"/>
              </a:xfrm>
              <a:prstGeom prst="rect">
                <a:avLst/>
              </a:prstGeom>
            </p:spPr>
          </p:pic>
          <p:pic>
            <p:nvPicPr>
              <p:cNvPr id="18" name="Picture 17"/>
              <p:cNvPicPr>
                <a:picLocks noChangeAspect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2990850" y="1568922"/>
                <a:ext cx="1104900" cy="1114425"/>
              </a:xfrm>
              <a:prstGeom prst="rect">
                <a:avLst/>
              </a:prstGeom>
            </p:spPr>
          </p:pic>
          <p:pic>
            <p:nvPicPr>
              <p:cNvPr id="19" name="Picture 18"/>
              <p:cNvPicPr>
                <a:picLocks noChangeAspect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4128701" y="1587972"/>
                <a:ext cx="1104900" cy="1123950"/>
              </a:xfrm>
              <a:prstGeom prst="rect">
                <a:avLst/>
              </a:prstGeom>
            </p:spPr>
          </p:pic>
          <p:pic>
            <p:nvPicPr>
              <p:cNvPr id="20" name="Picture 19"/>
              <p:cNvPicPr>
                <a:picLocks noChangeAspect="1"/>
              </p:cNvPicPr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5266552" y="1587972"/>
                <a:ext cx="1114425" cy="1123950"/>
              </a:xfrm>
              <a:prstGeom prst="rect">
                <a:avLst/>
              </a:prstGeom>
            </p:spPr>
          </p:pic>
          <p:pic>
            <p:nvPicPr>
              <p:cNvPr id="21" name="Picture 20"/>
              <p:cNvPicPr>
                <a:picLocks noChangeAspect="1"/>
              </p:cNvPicPr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1862524" y="1587972"/>
                <a:ext cx="1095375" cy="1104900"/>
              </a:xfrm>
              <a:prstGeom prst="rect">
                <a:avLst/>
              </a:prstGeom>
              <a:solidFill>
                <a:srgbClr val="92D050"/>
              </a:solidFill>
            </p:spPr>
          </p:pic>
          <p:pic>
            <p:nvPicPr>
              <p:cNvPr id="22" name="Picture 21"/>
              <p:cNvPicPr>
                <a:picLocks noChangeAspect="1"/>
              </p:cNvPicPr>
              <p:nvPr/>
            </p:nvPicPr>
            <p:blipFill>
              <a:blip r:embed="rId7"/>
              <a:stretch>
                <a:fillRect/>
              </a:stretch>
            </p:blipFill>
            <p:spPr>
              <a:xfrm>
                <a:off x="6413928" y="1602259"/>
                <a:ext cx="1104900" cy="1095375"/>
              </a:xfrm>
              <a:prstGeom prst="rect">
                <a:avLst/>
              </a:prstGeom>
            </p:spPr>
          </p:pic>
        </p:grpSp>
        <p:grpSp>
          <p:nvGrpSpPr>
            <p:cNvPr id="9" name="Group 8"/>
            <p:cNvGrpSpPr/>
            <p:nvPr/>
          </p:nvGrpSpPr>
          <p:grpSpPr>
            <a:xfrm>
              <a:off x="1321159" y="4306015"/>
              <a:ext cx="1053703" cy="1053703"/>
              <a:chOff x="1290751" y="600183"/>
              <a:chExt cx="1053703" cy="1053703"/>
            </a:xfrm>
            <a:solidFill>
              <a:srgbClr val="040771"/>
            </a:solidFill>
          </p:grpSpPr>
          <p:sp>
            <p:nvSpPr>
              <p:cNvPr id="15" name="Oval 14"/>
              <p:cNvSpPr/>
              <p:nvPr/>
            </p:nvSpPr>
            <p:spPr>
              <a:xfrm>
                <a:off x="1290751" y="600183"/>
                <a:ext cx="1053703" cy="1053703"/>
              </a:xfrm>
              <a:prstGeom prst="ellipse">
                <a:avLst/>
              </a:prstGeom>
              <a:grpFill/>
              <a:ln w="12700"/>
            </p:spPr>
            <p:style>
              <a:lnRef idx="2">
                <a:scrgbClr r="0" g="0" b="0"/>
              </a:lnRef>
              <a:fillRef idx="1">
                <a:scrgbClr r="0" g="0" b="0"/>
              </a:fillRef>
              <a:effectRef idx="0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</p:sp>
          <p:sp>
            <p:nvSpPr>
              <p:cNvPr id="16" name="Oval 4"/>
              <p:cNvSpPr txBox="1"/>
              <p:nvPr/>
            </p:nvSpPr>
            <p:spPr>
              <a:xfrm>
                <a:off x="1445062" y="754494"/>
                <a:ext cx="745081" cy="745081"/>
              </a:xfrm>
              <a:prstGeom prst="rect">
                <a:avLst/>
              </a:prstGeom>
              <a:grpFill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spcFirstLastPara="0" vert="horz" wrap="square" lIns="30480" tIns="30480" rIns="30480" bIns="30480" numCol="1" spcCol="1270" anchor="ctr" anchorCtr="0">
                <a:noAutofit/>
              </a:bodyPr>
              <a:lstStyle/>
              <a:p>
                <a:pPr lvl="0" algn="ctr" defTabSz="213360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endParaRPr lang="en-US" sz="4800" kern="1200" dirty="0"/>
              </a:p>
            </p:txBody>
          </p:sp>
        </p:grpSp>
        <p:pic>
          <p:nvPicPr>
            <p:cNvPr id="10" name="Picture 9"/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1409370" y="4534318"/>
              <a:ext cx="882454" cy="614188"/>
            </a:xfrm>
            <a:prstGeom prst="rect">
              <a:avLst/>
            </a:prstGeom>
          </p:spPr>
        </p:pic>
        <p:grpSp>
          <p:nvGrpSpPr>
            <p:cNvPr id="11" name="Group 10"/>
            <p:cNvGrpSpPr/>
            <p:nvPr/>
          </p:nvGrpSpPr>
          <p:grpSpPr>
            <a:xfrm>
              <a:off x="238568" y="4295648"/>
              <a:ext cx="1053703" cy="1053703"/>
              <a:chOff x="1290751" y="600183"/>
              <a:chExt cx="1053703" cy="1053703"/>
            </a:xfrm>
            <a:solidFill>
              <a:srgbClr val="D86227"/>
            </a:solidFill>
          </p:grpSpPr>
          <p:sp>
            <p:nvSpPr>
              <p:cNvPr id="13" name="Oval 12"/>
              <p:cNvSpPr/>
              <p:nvPr/>
            </p:nvSpPr>
            <p:spPr>
              <a:xfrm>
                <a:off x="1290751" y="600183"/>
                <a:ext cx="1053703" cy="1053703"/>
              </a:xfrm>
              <a:prstGeom prst="ellipse">
                <a:avLst/>
              </a:prstGeom>
              <a:grpFill/>
              <a:ln w="12700">
                <a:noFill/>
              </a:ln>
            </p:spPr>
            <p:style>
              <a:lnRef idx="2">
                <a:scrgbClr r="0" g="0" b="0"/>
              </a:lnRef>
              <a:fillRef idx="1">
                <a:scrgbClr r="0" g="0" b="0"/>
              </a:fillRef>
              <a:effectRef idx="0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</p:sp>
          <p:sp>
            <p:nvSpPr>
              <p:cNvPr id="14" name="Oval 4"/>
              <p:cNvSpPr txBox="1"/>
              <p:nvPr/>
            </p:nvSpPr>
            <p:spPr>
              <a:xfrm>
                <a:off x="1445062" y="754494"/>
                <a:ext cx="745081" cy="745081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spcFirstLastPara="0" vert="horz" wrap="square" lIns="30480" tIns="30480" rIns="30480" bIns="30480" numCol="1" spcCol="1270" anchor="ctr" anchorCtr="0">
                <a:noAutofit/>
              </a:bodyPr>
              <a:lstStyle/>
              <a:p>
                <a:pPr lvl="0" algn="ctr" defTabSz="213360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endParaRPr lang="en-US" sz="4800" kern="1200" dirty="0"/>
              </a:p>
            </p:txBody>
          </p:sp>
        </p:grpSp>
        <p:pic>
          <p:nvPicPr>
            <p:cNvPr id="12" name="Picture 11"/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420210" y="4433467"/>
              <a:ext cx="690420" cy="775976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6945076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sz="quarter" idx="16"/>
          </p:nvPr>
        </p:nvSpPr>
        <p:spPr>
          <a:xfrm>
            <a:off x="470001" y="1331945"/>
            <a:ext cx="8243176" cy="4952943"/>
          </a:xfrm>
        </p:spPr>
        <p:txBody>
          <a:bodyPr/>
          <a:lstStyle/>
          <a:p>
            <a:r>
              <a:rPr lang="en-US" sz="2000" b="1" dirty="0" smtClean="0">
                <a:solidFill>
                  <a:srgbClr val="00269E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Key Federal Deliverables</a:t>
            </a:r>
          </a:p>
          <a:p>
            <a:pPr marL="228600" indent="-228600">
              <a:buFont typeface="+mj-lt"/>
              <a:buAutoNum type="arabicPeriod"/>
            </a:pPr>
            <a:r>
              <a:rPr lang="en-US" sz="1500" dirty="0"/>
              <a:t>Transit Asset Management </a:t>
            </a:r>
            <a:r>
              <a:rPr lang="en-US" sz="1500" dirty="0" smtClean="0"/>
              <a:t>Plan </a:t>
            </a:r>
            <a:r>
              <a:rPr lang="en-US" sz="1600" dirty="0">
                <a:solidFill>
                  <a:schemeClr val="tx1"/>
                </a:solidFill>
              </a:rPr>
              <a:t>- </a:t>
            </a:r>
            <a:r>
              <a:rPr lang="en-US" sz="1600" dirty="0">
                <a:solidFill>
                  <a:srgbClr val="FF0000"/>
                </a:solidFill>
              </a:rPr>
              <a:t>Due October 1</a:t>
            </a:r>
            <a:r>
              <a:rPr lang="en-US" sz="1600" baseline="30000" dirty="0">
                <a:solidFill>
                  <a:srgbClr val="FF0000"/>
                </a:solidFill>
              </a:rPr>
              <a:t>st</a:t>
            </a:r>
            <a:r>
              <a:rPr lang="en-US" sz="1600" dirty="0">
                <a:solidFill>
                  <a:srgbClr val="FF0000"/>
                </a:solidFill>
              </a:rPr>
              <a:t> 2018 and updated when a major change occurs</a:t>
            </a:r>
          </a:p>
          <a:p>
            <a:pPr marL="857250" lvl="2" indent="-285750">
              <a:buFont typeface="Arial" panose="020B0604020202020204" pitchFamily="34" charset="0"/>
              <a:buChar char="•"/>
            </a:pPr>
            <a:r>
              <a:rPr lang="en-US" sz="1500" dirty="0" smtClean="0"/>
              <a:t>Identify a framework for evaluating and improving performance </a:t>
            </a:r>
          </a:p>
          <a:p>
            <a:pPr marL="857250" lvl="2" indent="-285750">
              <a:buFont typeface="Arial" panose="020B0604020202020204" pitchFamily="34" charset="0"/>
              <a:buChar char="•"/>
            </a:pPr>
            <a:r>
              <a:rPr lang="en-US" sz="1500" dirty="0" smtClean="0"/>
              <a:t>Identify </a:t>
            </a:r>
            <a:r>
              <a:rPr lang="en-US" sz="1500" dirty="0"/>
              <a:t>Life Cycle Management needs by asset class</a:t>
            </a:r>
          </a:p>
          <a:p>
            <a:pPr marL="857250" lvl="2" indent="-285750">
              <a:buFont typeface="Arial" panose="020B0604020202020204" pitchFamily="34" charset="0"/>
              <a:buChar char="•"/>
            </a:pPr>
            <a:r>
              <a:rPr lang="en-US" sz="1500" dirty="0"/>
              <a:t>Assess </a:t>
            </a:r>
            <a:r>
              <a:rPr lang="en-US" sz="1500" dirty="0" smtClean="0"/>
              <a:t>needs </a:t>
            </a:r>
            <a:r>
              <a:rPr lang="en-US" sz="1500" dirty="0"/>
              <a:t>and resources </a:t>
            </a:r>
            <a:r>
              <a:rPr lang="en-US" sz="1500" dirty="0" smtClean="0"/>
              <a:t>to </a:t>
            </a:r>
            <a:r>
              <a:rPr lang="en-US" sz="1500" dirty="0"/>
              <a:t>support safe and reliable service delivery and bring assets into a State of Good Repair.</a:t>
            </a:r>
          </a:p>
          <a:p>
            <a:pPr marL="857250" lvl="2" indent="-285750">
              <a:buFont typeface="Arial" panose="020B0604020202020204" pitchFamily="34" charset="0"/>
              <a:buChar char="•"/>
            </a:pPr>
            <a:r>
              <a:rPr lang="en-US" sz="1500" dirty="0"/>
              <a:t>Document current key processes, organizational architecture, and tools for effective Asset Management</a:t>
            </a:r>
          </a:p>
          <a:p>
            <a:pPr marL="857250" lvl="2" indent="-285750">
              <a:buFont typeface="Arial" panose="020B0604020202020204" pitchFamily="34" charset="0"/>
              <a:buChar char="•"/>
            </a:pPr>
            <a:r>
              <a:rPr lang="en-US" sz="1500" dirty="0"/>
              <a:t>Establish action plans for improving asset management</a:t>
            </a:r>
          </a:p>
          <a:p>
            <a:pPr marL="342900" indent="-342900">
              <a:buFont typeface="+mj-lt"/>
              <a:buAutoNum type="arabicPeriod"/>
            </a:pPr>
            <a:r>
              <a:rPr lang="en-US" sz="1500" dirty="0" smtClean="0"/>
              <a:t>Report </a:t>
            </a:r>
            <a:r>
              <a:rPr lang="en-US" sz="1500" dirty="0"/>
              <a:t>information for </a:t>
            </a:r>
            <a:r>
              <a:rPr lang="en-US" sz="1500" dirty="0" smtClean="0">
                <a:solidFill>
                  <a:schemeClr val="tx1"/>
                </a:solidFill>
              </a:rPr>
              <a:t>all</a:t>
            </a:r>
            <a:r>
              <a:rPr lang="en-US" sz="1500" dirty="0" smtClean="0">
                <a:solidFill>
                  <a:srgbClr val="00B050"/>
                </a:solidFill>
              </a:rPr>
              <a:t> </a:t>
            </a:r>
            <a:r>
              <a:rPr lang="en-US" sz="1500" dirty="0"/>
              <a:t>assets owned, contracted and/or managed by the </a:t>
            </a:r>
            <a:r>
              <a:rPr lang="en-US" sz="1500" dirty="0" smtClean="0"/>
              <a:t>  MBTA and </a:t>
            </a:r>
            <a:r>
              <a:rPr lang="en-US" sz="1500" dirty="0"/>
              <a:t>used in the provision of providing public transportation services </a:t>
            </a:r>
            <a:r>
              <a:rPr lang="en-US" sz="1500" dirty="0" smtClean="0"/>
              <a:t>- </a:t>
            </a:r>
            <a:r>
              <a:rPr lang="en-US" sz="1500" dirty="0" smtClean="0">
                <a:solidFill>
                  <a:srgbClr val="FF0000"/>
                </a:solidFill>
              </a:rPr>
              <a:t>due October </a:t>
            </a:r>
            <a:r>
              <a:rPr lang="en-US" sz="1500" dirty="0">
                <a:solidFill>
                  <a:srgbClr val="FF0000"/>
                </a:solidFill>
              </a:rPr>
              <a:t>31</a:t>
            </a:r>
            <a:r>
              <a:rPr lang="en-US" sz="1500" baseline="30000" dirty="0">
                <a:solidFill>
                  <a:srgbClr val="FF0000"/>
                </a:solidFill>
              </a:rPr>
              <a:t>st</a:t>
            </a:r>
            <a:r>
              <a:rPr lang="en-US" sz="1500" dirty="0">
                <a:solidFill>
                  <a:srgbClr val="FF0000"/>
                </a:solidFill>
              </a:rPr>
              <a:t> with 25% of all facilities given condition ratings increasing to 100% of all facilities given condition ratings in 4 years</a:t>
            </a:r>
          </a:p>
          <a:p>
            <a:pPr marL="342900" lvl="0" indent="-342900">
              <a:buClr>
                <a:srgbClr val="000000"/>
              </a:buClr>
              <a:buFont typeface="+mj-lt"/>
              <a:buAutoNum type="arabicPeriod"/>
            </a:pPr>
            <a:r>
              <a:rPr lang="en-US" sz="1500" dirty="0" smtClean="0">
                <a:solidFill>
                  <a:srgbClr val="000000"/>
                </a:solidFill>
              </a:rPr>
              <a:t>FY19 </a:t>
            </a:r>
            <a:r>
              <a:rPr lang="en-US" sz="1500" dirty="0">
                <a:solidFill>
                  <a:srgbClr val="000000"/>
                </a:solidFill>
              </a:rPr>
              <a:t>Performance Targets reported to the Boston Metropolitan Planning </a:t>
            </a:r>
            <a:r>
              <a:rPr lang="en-US" sz="1500" dirty="0" smtClean="0">
                <a:solidFill>
                  <a:srgbClr val="000000"/>
                </a:solidFill>
              </a:rPr>
              <a:t>     Organization </a:t>
            </a:r>
            <a:r>
              <a:rPr lang="en-US" sz="1500" dirty="0">
                <a:solidFill>
                  <a:srgbClr val="000000"/>
                </a:solidFill>
              </a:rPr>
              <a:t>and Federal Transit Administration via the National Transit Database – </a:t>
            </a:r>
            <a:r>
              <a:rPr lang="en-US" sz="1500" dirty="0">
                <a:solidFill>
                  <a:srgbClr val="FF0000"/>
                </a:solidFill>
              </a:rPr>
              <a:t>Due October 31</a:t>
            </a:r>
            <a:r>
              <a:rPr lang="en-US" sz="1500" baseline="30000" dirty="0">
                <a:solidFill>
                  <a:srgbClr val="FF0000"/>
                </a:solidFill>
              </a:rPr>
              <a:t>st</a:t>
            </a:r>
            <a:endParaRPr lang="en-US" sz="1500" dirty="0">
              <a:solidFill>
                <a:srgbClr val="FF0000"/>
              </a:solidFill>
            </a:endParaRPr>
          </a:p>
          <a:p>
            <a:endParaRPr lang="en-US" sz="2000" b="1" dirty="0">
              <a:solidFill>
                <a:srgbClr val="00269E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470001" y="847367"/>
            <a:ext cx="8243176" cy="355121"/>
          </a:xfrm>
        </p:spPr>
        <p:txBody>
          <a:bodyPr/>
          <a:lstStyle/>
          <a:p>
            <a:r>
              <a:rPr lang="en-US" sz="1800" dirty="0" smtClean="0"/>
              <a:t>Transit Asset Management Plan/NTD Deliverables Overview</a:t>
            </a:r>
            <a:endParaRPr lang="en-US" sz="1800" dirty="0"/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4294967295"/>
          </p:nvPr>
        </p:nvSpPr>
        <p:spPr>
          <a:xfrm>
            <a:off x="462684" y="381000"/>
            <a:ext cx="7309716" cy="228600"/>
          </a:xfrm>
          <a:prstGeom prst="rect">
            <a:avLst/>
          </a:prstGeom>
        </p:spPr>
        <p:txBody>
          <a:bodyPr/>
          <a:lstStyle/>
          <a:p>
            <a:pPr>
              <a:spcBef>
                <a:spcPct val="0"/>
              </a:spcBef>
              <a:buNone/>
            </a:pPr>
            <a:r>
              <a:rPr lang="en-US" sz="1100" dirty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rPr>
              <a:t>Transit Asset Management</a:t>
            </a:r>
          </a:p>
        </p:txBody>
      </p:sp>
    </p:spTree>
    <p:extLst>
      <p:ext uri="{BB962C8B-B14F-4D97-AF65-F5344CB8AC3E}">
        <p14:creationId xmlns:p14="http://schemas.microsoft.com/office/powerpoint/2010/main" val="35178925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 txBox="1">
            <a:spLocks/>
          </p:cNvSpPr>
          <p:nvPr/>
        </p:nvSpPr>
        <p:spPr>
          <a:xfrm>
            <a:off x="462685" y="884476"/>
            <a:ext cx="8348410" cy="466344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033CC"/>
                </a:solidFill>
                <a:latin typeface="Calibri" panose="020F0502020204030204" pitchFamily="34" charset="0"/>
                <a:ea typeface="+mj-ea"/>
                <a:cs typeface="+mj-cs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033CC"/>
                </a:solidFill>
                <a:latin typeface="Calibri" panose="020F0502020204030204" pitchFamily="34" charset="0"/>
                <a:cs typeface="Arial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033CC"/>
                </a:solidFill>
                <a:latin typeface="Calibri" panose="020F0502020204030204" pitchFamily="34" charset="0"/>
                <a:cs typeface="Arial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033CC"/>
                </a:solidFill>
                <a:latin typeface="Calibri" panose="020F0502020204030204" pitchFamily="34" charset="0"/>
                <a:cs typeface="Arial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033CC"/>
                </a:solidFill>
                <a:latin typeface="Calibri" panose="020F0502020204030204" pitchFamily="34" charset="0"/>
                <a:cs typeface="Arial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33CC"/>
                </a:solidFill>
                <a:latin typeface="Verdana" pitchFamily="34" charset="0"/>
                <a:cs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33CC"/>
                </a:solidFill>
                <a:latin typeface="Verdana" pitchFamily="34" charset="0"/>
                <a:cs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33CC"/>
                </a:solidFill>
                <a:latin typeface="Verdana" pitchFamily="34" charset="0"/>
                <a:cs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33CC"/>
                </a:solidFill>
                <a:latin typeface="Verdana" pitchFamily="34" charset="0"/>
                <a:cs typeface="Arial" charset="0"/>
              </a:defRPr>
            </a:lvl9pPr>
          </a:lstStyle>
          <a:p>
            <a:r>
              <a:rPr lang="en-US" sz="1800" kern="0" dirty="0" smtClean="0">
                <a:solidFill>
                  <a:srgbClr val="00269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ederal Deliverables: Strategic Approach</a:t>
            </a:r>
          </a:p>
        </p:txBody>
      </p:sp>
      <p:sp>
        <p:nvSpPr>
          <p:cNvPr id="7" name="Content Placeholder 2"/>
          <p:cNvSpPr txBox="1">
            <a:spLocks/>
          </p:cNvSpPr>
          <p:nvPr/>
        </p:nvSpPr>
        <p:spPr>
          <a:xfrm>
            <a:off x="462684" y="1296750"/>
            <a:ext cx="8348411" cy="4988139"/>
          </a:xfrm>
          <a:prstGeom prst="rect">
            <a:avLst/>
          </a:prstGeom>
        </p:spPr>
        <p:txBody>
          <a:bodyPr>
            <a:noAutofit/>
          </a:bodyPr>
          <a:lstStyle>
            <a:lvl1pPr marL="228600" indent="-228600" algn="l" rtl="0" eaLnBrk="1" fontAlgn="base" hangingPunct="1">
              <a:spcBef>
                <a:spcPct val="100000"/>
              </a:spcBef>
              <a:spcAft>
                <a:spcPct val="0"/>
              </a:spcAft>
              <a:buClr>
                <a:srgbClr val="0033CC"/>
              </a:buClr>
              <a:buChar char="•"/>
              <a:defRPr sz="2400" b="1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  <a:lvl2pPr marL="576263" indent="-23336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Font typeface="Arial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cs typeface="+mn-cs"/>
              </a:defRPr>
            </a:lvl2pPr>
            <a:lvl3pPr marL="9144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  <a:cs typeface="+mn-cs"/>
              </a:defRPr>
            </a:lvl3pPr>
            <a:lvl4pPr marL="1262063" indent="-23336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cs typeface="+mn-cs"/>
              </a:defRPr>
            </a:lvl4pPr>
            <a:lvl5pPr marL="16002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cs typeface="+mn-cs"/>
              </a:defRPr>
            </a:lvl5pPr>
            <a:lvl6pPr marL="20574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5146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29718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4290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>
              <a:spcBef>
                <a:spcPts val="1000"/>
              </a:spcBef>
              <a:buNone/>
            </a:pPr>
            <a:r>
              <a:rPr lang="en-US" sz="1600" kern="0" dirty="0" smtClean="0">
                <a:solidFill>
                  <a:srgbClr val="00269E"/>
                </a:solidFill>
              </a:rPr>
              <a:t>FTA / NTD Asset Inventory Module</a:t>
            </a:r>
          </a:p>
          <a:p>
            <a:pPr>
              <a:spcBef>
                <a:spcPts val="1000"/>
              </a:spcBef>
            </a:pPr>
            <a:r>
              <a:rPr lang="en-US" sz="1400" b="0" kern="0" dirty="0" smtClean="0"/>
              <a:t>Two step approach to reporting the full inventory of MBTA Assets</a:t>
            </a:r>
          </a:p>
          <a:p>
            <a:pPr lvl="1">
              <a:spcBef>
                <a:spcPts val="1000"/>
              </a:spcBef>
            </a:pPr>
            <a:r>
              <a:rPr lang="en-US" sz="1000" kern="0" dirty="0" smtClean="0"/>
              <a:t>FY19 NTD submission will report 60% of all assets (October 31, 2018)</a:t>
            </a:r>
          </a:p>
          <a:p>
            <a:pPr lvl="1">
              <a:spcBef>
                <a:spcPts val="1000"/>
              </a:spcBef>
            </a:pPr>
            <a:r>
              <a:rPr lang="en-US" sz="1000" b="0" kern="0" dirty="0" smtClean="0"/>
              <a:t>FY20 NTD submission will report all remaining assets (October 31, 2019)</a:t>
            </a:r>
          </a:p>
          <a:p>
            <a:pPr>
              <a:spcBef>
                <a:spcPts val="1000"/>
              </a:spcBef>
            </a:pPr>
            <a:r>
              <a:rPr lang="en-US" sz="1400" b="0" kern="0" dirty="0" smtClean="0"/>
              <a:t>Consulting teams working with asset owners to inventory assets and assess current condition</a:t>
            </a:r>
          </a:p>
          <a:p>
            <a:pPr>
              <a:spcBef>
                <a:spcPts val="1000"/>
              </a:spcBef>
            </a:pPr>
            <a:r>
              <a:rPr lang="en-US" sz="1400" b="0" kern="0" dirty="0" smtClean="0"/>
              <a:t>FTA 1 year extension for remaining asset collection and validation</a:t>
            </a:r>
          </a:p>
          <a:p>
            <a:pPr>
              <a:spcBef>
                <a:spcPts val="1000"/>
              </a:spcBef>
            </a:pPr>
            <a:endParaRPr lang="en-US" sz="1400" b="0" kern="0" dirty="0" smtClean="0"/>
          </a:p>
        </p:txBody>
      </p:sp>
      <p:sp>
        <p:nvSpPr>
          <p:cNvPr id="16" name="Text Placeholder 2"/>
          <p:cNvSpPr>
            <a:spLocks noGrp="1"/>
          </p:cNvSpPr>
          <p:nvPr>
            <p:ph type="body" sz="quarter" idx="4294967295"/>
          </p:nvPr>
        </p:nvSpPr>
        <p:spPr>
          <a:xfrm>
            <a:off x="462684" y="381000"/>
            <a:ext cx="7309716" cy="228600"/>
          </a:xfrm>
          <a:prstGeom prst="rect">
            <a:avLst/>
          </a:prstGeom>
        </p:spPr>
        <p:txBody>
          <a:bodyPr/>
          <a:lstStyle/>
          <a:p>
            <a:pPr>
              <a:spcBef>
                <a:spcPct val="0"/>
              </a:spcBef>
              <a:buNone/>
            </a:pPr>
            <a:r>
              <a:rPr lang="en-US" sz="1100" dirty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rPr>
              <a:t>Transit Asset Management</a:t>
            </a:r>
          </a:p>
        </p:txBody>
      </p:sp>
      <p:grpSp>
        <p:nvGrpSpPr>
          <p:cNvPr id="42" name="Group 41"/>
          <p:cNvGrpSpPr/>
          <p:nvPr/>
        </p:nvGrpSpPr>
        <p:grpSpPr>
          <a:xfrm>
            <a:off x="462683" y="3344088"/>
            <a:ext cx="8531394" cy="2940801"/>
            <a:chOff x="392160" y="1873693"/>
            <a:chExt cx="8531394" cy="2940801"/>
          </a:xfrm>
        </p:grpSpPr>
        <p:graphicFrame>
          <p:nvGraphicFramePr>
            <p:cNvPr id="43" name="Content Placeholder 3"/>
            <p:cNvGraphicFramePr>
              <a:graphicFrameLocks/>
            </p:cNvGraphicFramePr>
            <p:nvPr>
              <p:extLst>
                <p:ext uri="{D42A27DB-BD31-4B8C-83A1-F6EECF244321}">
                  <p14:modId xmlns:p14="http://schemas.microsoft.com/office/powerpoint/2010/main" val="997548827"/>
                </p:ext>
              </p:extLst>
            </p:nvPr>
          </p:nvGraphicFramePr>
          <p:xfrm>
            <a:off x="392160" y="1873693"/>
            <a:ext cx="7195415" cy="1013919"/>
          </p:xfrm>
          <a:graphic>
            <a:graphicData uri="http://schemas.openxmlformats.org/drawingml/2006/diagram">
              <dgm:relIds xmlns:dgm="http://schemas.openxmlformats.org/drawingml/2006/diagram" xmlns:r="http://schemas.openxmlformats.org/officeDocument/2006/relationships" r:dm="rId3" r:lo="rId4" r:qs="rId5" r:cs="rId6"/>
            </a:graphicData>
          </a:graphic>
        </p:graphicFrame>
        <p:grpSp>
          <p:nvGrpSpPr>
            <p:cNvPr id="44" name="Group 43"/>
            <p:cNvGrpSpPr/>
            <p:nvPr/>
          </p:nvGrpSpPr>
          <p:grpSpPr>
            <a:xfrm>
              <a:off x="392160" y="1873693"/>
              <a:ext cx="8531394" cy="2940801"/>
              <a:chOff x="630925" y="1901914"/>
              <a:chExt cx="8531394" cy="2940801"/>
            </a:xfrm>
          </p:grpSpPr>
          <p:sp>
            <p:nvSpPr>
              <p:cNvPr id="45" name="TextBox 44"/>
              <p:cNvSpPr txBox="1"/>
              <p:nvPr/>
            </p:nvSpPr>
            <p:spPr>
              <a:xfrm>
                <a:off x="630925" y="1901914"/>
                <a:ext cx="499008" cy="325090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dirty="0" smtClean="0"/>
                  <a:t>2017</a:t>
                </a:r>
                <a:endParaRPr lang="en-US" dirty="0"/>
              </a:p>
            </p:txBody>
          </p:sp>
          <p:sp>
            <p:nvSpPr>
              <p:cNvPr id="46" name="TextBox 45"/>
              <p:cNvSpPr txBox="1"/>
              <p:nvPr/>
            </p:nvSpPr>
            <p:spPr>
              <a:xfrm>
                <a:off x="2245373" y="1901914"/>
                <a:ext cx="499008" cy="325090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dirty="0" smtClean="0"/>
                  <a:t>2018</a:t>
                </a:r>
                <a:endParaRPr lang="en-US" dirty="0"/>
              </a:p>
            </p:txBody>
          </p:sp>
          <p:sp>
            <p:nvSpPr>
              <p:cNvPr id="47" name="Rectangle 46"/>
              <p:cNvSpPr/>
              <p:nvPr/>
            </p:nvSpPr>
            <p:spPr>
              <a:xfrm>
                <a:off x="961378" y="2648176"/>
                <a:ext cx="304713" cy="124456"/>
              </a:xfrm>
              <a:prstGeom prst="rect">
                <a:avLst/>
              </a:prstGeom>
              <a:solidFill>
                <a:schemeClr val="accent2">
                  <a:lumMod val="2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48" name="TextBox 47"/>
              <p:cNvSpPr txBox="1"/>
              <p:nvPr/>
            </p:nvSpPr>
            <p:spPr>
              <a:xfrm>
                <a:off x="884968" y="2731469"/>
                <a:ext cx="6593472" cy="23083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sz="900" b="1" dirty="0"/>
                  <a:t>Phase 1 </a:t>
                </a:r>
                <a:r>
                  <a:rPr lang="en-US" sz="900" dirty="0"/>
                  <a:t>– Initial meetings with asset managers to determine scope, resources needed and </a:t>
                </a:r>
                <a:r>
                  <a:rPr lang="en-US" sz="900" dirty="0" smtClean="0"/>
                  <a:t>budget (2 weeks)</a:t>
                </a:r>
                <a:endParaRPr lang="en-US" sz="900" dirty="0"/>
              </a:p>
            </p:txBody>
          </p:sp>
          <p:sp>
            <p:nvSpPr>
              <p:cNvPr id="49" name="TextBox 48"/>
              <p:cNvSpPr txBox="1"/>
              <p:nvPr/>
            </p:nvSpPr>
            <p:spPr>
              <a:xfrm>
                <a:off x="1119729" y="3099308"/>
                <a:ext cx="2497480" cy="36933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900" b="1" dirty="0"/>
                  <a:t>Phase 2 </a:t>
                </a:r>
                <a:r>
                  <a:rPr lang="en-US" sz="900" dirty="0"/>
                  <a:t>– Asset Inventory Data </a:t>
                </a:r>
                <a:r>
                  <a:rPr lang="en-US" sz="900" dirty="0" smtClean="0"/>
                  <a:t>Entry/Troubleshooting (16 weeks)</a:t>
                </a:r>
                <a:endParaRPr lang="en-US" sz="900" dirty="0"/>
              </a:p>
            </p:txBody>
          </p:sp>
          <p:sp>
            <p:nvSpPr>
              <p:cNvPr id="50" name="TextBox 49"/>
              <p:cNvSpPr txBox="1"/>
              <p:nvPr/>
            </p:nvSpPr>
            <p:spPr>
              <a:xfrm>
                <a:off x="3135800" y="3526004"/>
                <a:ext cx="3282917" cy="36933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900" b="1" dirty="0"/>
                  <a:t>Phase 3 </a:t>
                </a:r>
                <a:r>
                  <a:rPr lang="en-US" sz="900" dirty="0"/>
                  <a:t>– Data Validation/Condition Assessment/FY19 Performance </a:t>
                </a:r>
                <a:r>
                  <a:rPr lang="en-US" sz="900" dirty="0" smtClean="0"/>
                  <a:t>Targets (16 weeks)</a:t>
                </a:r>
                <a:endParaRPr lang="en-US" sz="900" dirty="0"/>
              </a:p>
            </p:txBody>
          </p:sp>
          <p:sp>
            <p:nvSpPr>
              <p:cNvPr id="51" name="Rectangle 50"/>
              <p:cNvSpPr/>
              <p:nvPr/>
            </p:nvSpPr>
            <p:spPr>
              <a:xfrm>
                <a:off x="5710078" y="3895336"/>
                <a:ext cx="952569" cy="128830"/>
              </a:xfrm>
              <a:prstGeom prst="rect">
                <a:avLst/>
              </a:prstGeom>
              <a:solidFill>
                <a:schemeClr val="accent1">
                  <a:lumMod val="2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52" name="TextBox 51"/>
              <p:cNvSpPr txBox="1"/>
              <p:nvPr/>
            </p:nvSpPr>
            <p:spPr>
              <a:xfrm>
                <a:off x="5607292" y="3988268"/>
                <a:ext cx="2826271" cy="23083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900" b="1" dirty="0"/>
                  <a:t>Phase 4 </a:t>
                </a:r>
                <a:r>
                  <a:rPr lang="en-US" sz="900" dirty="0"/>
                  <a:t>– QA/QC &amp; </a:t>
                </a:r>
                <a:r>
                  <a:rPr lang="en-US" sz="900" dirty="0" smtClean="0"/>
                  <a:t>Final  Review (8 weeks)</a:t>
                </a:r>
                <a:endParaRPr lang="en-US" sz="900" dirty="0"/>
              </a:p>
            </p:txBody>
          </p:sp>
          <p:sp>
            <p:nvSpPr>
              <p:cNvPr id="53" name="Rectangle 52"/>
              <p:cNvSpPr/>
              <p:nvPr/>
            </p:nvSpPr>
            <p:spPr>
              <a:xfrm>
                <a:off x="6785147" y="4257944"/>
                <a:ext cx="1005572" cy="109298"/>
              </a:xfrm>
              <a:prstGeom prst="rect">
                <a:avLst/>
              </a:prstGeom>
              <a:solidFill>
                <a:schemeClr val="accent5">
                  <a:lumMod val="9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54" name="TextBox 53"/>
              <p:cNvSpPr txBox="1"/>
              <p:nvPr/>
            </p:nvSpPr>
            <p:spPr>
              <a:xfrm>
                <a:off x="6694076" y="4334884"/>
                <a:ext cx="2468243" cy="50783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900" b="1" dirty="0"/>
                  <a:t>Phase 5 </a:t>
                </a:r>
                <a:r>
                  <a:rPr lang="en-US" sz="900" dirty="0"/>
                  <a:t>– Data Entry into the National Transit </a:t>
                </a:r>
                <a:r>
                  <a:rPr lang="en-US" sz="900" dirty="0" smtClean="0"/>
                  <a:t>Database (3 weeks)</a:t>
                </a:r>
                <a:r>
                  <a:rPr lang="en-US" sz="900" dirty="0" smtClean="0">
                    <a:solidFill>
                      <a:srgbClr val="FF0000"/>
                    </a:solidFill>
                  </a:rPr>
                  <a:t> </a:t>
                </a:r>
                <a:r>
                  <a:rPr lang="en-US" sz="900" b="1" dirty="0" smtClean="0">
                    <a:solidFill>
                      <a:srgbClr val="FF0000"/>
                    </a:solidFill>
                  </a:rPr>
                  <a:t>due October 31st</a:t>
                </a:r>
                <a:endParaRPr lang="en-US" sz="900" b="1" dirty="0">
                  <a:solidFill>
                    <a:srgbClr val="FF0000"/>
                  </a:solidFill>
                </a:endParaRPr>
              </a:p>
            </p:txBody>
          </p:sp>
          <p:sp>
            <p:nvSpPr>
              <p:cNvPr id="55" name="Rectangle 54"/>
              <p:cNvSpPr/>
              <p:nvPr/>
            </p:nvSpPr>
            <p:spPr>
              <a:xfrm>
                <a:off x="1189696" y="2988697"/>
                <a:ext cx="4996667" cy="121289"/>
              </a:xfrm>
              <a:prstGeom prst="rect">
                <a:avLst/>
              </a:prstGeom>
              <a:solidFill>
                <a:schemeClr val="accent2">
                  <a:lumMod val="2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endParaRPr lang="en-US" dirty="0"/>
              </a:p>
            </p:txBody>
          </p:sp>
          <p:cxnSp>
            <p:nvCxnSpPr>
              <p:cNvPr id="56" name="Straight Connector 55"/>
              <p:cNvCxnSpPr/>
              <p:nvPr/>
            </p:nvCxnSpPr>
            <p:spPr>
              <a:xfrm>
                <a:off x="6770321" y="2504721"/>
                <a:ext cx="1625" cy="1862520"/>
              </a:xfrm>
              <a:prstGeom prst="line">
                <a:avLst/>
              </a:prstGeom>
              <a:ln w="28575">
                <a:solidFill>
                  <a:srgbClr val="FF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57" name="Rectangle 56"/>
              <p:cNvSpPr/>
              <p:nvPr/>
            </p:nvSpPr>
            <p:spPr>
              <a:xfrm>
                <a:off x="2245373" y="3424895"/>
                <a:ext cx="4127519" cy="136677"/>
              </a:xfrm>
              <a:prstGeom prst="rect">
                <a:avLst/>
              </a:prstGeom>
              <a:solidFill>
                <a:schemeClr val="accent2">
                  <a:lumMod val="2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6909222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 txBox="1">
            <a:spLocks/>
          </p:cNvSpPr>
          <p:nvPr/>
        </p:nvSpPr>
        <p:spPr>
          <a:xfrm>
            <a:off x="462685" y="884476"/>
            <a:ext cx="8348410" cy="466344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033CC"/>
                </a:solidFill>
                <a:latin typeface="Calibri" panose="020F0502020204030204" pitchFamily="34" charset="0"/>
                <a:ea typeface="+mj-ea"/>
                <a:cs typeface="+mj-cs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033CC"/>
                </a:solidFill>
                <a:latin typeface="Calibri" panose="020F0502020204030204" pitchFamily="34" charset="0"/>
                <a:cs typeface="Arial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033CC"/>
                </a:solidFill>
                <a:latin typeface="Calibri" panose="020F0502020204030204" pitchFamily="34" charset="0"/>
                <a:cs typeface="Arial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033CC"/>
                </a:solidFill>
                <a:latin typeface="Calibri" panose="020F0502020204030204" pitchFamily="34" charset="0"/>
                <a:cs typeface="Arial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033CC"/>
                </a:solidFill>
                <a:latin typeface="Calibri" panose="020F0502020204030204" pitchFamily="34" charset="0"/>
                <a:cs typeface="Arial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33CC"/>
                </a:solidFill>
                <a:latin typeface="Verdana" pitchFamily="34" charset="0"/>
                <a:cs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33CC"/>
                </a:solidFill>
                <a:latin typeface="Verdana" pitchFamily="34" charset="0"/>
                <a:cs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33CC"/>
                </a:solidFill>
                <a:latin typeface="Verdana" pitchFamily="34" charset="0"/>
                <a:cs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33CC"/>
                </a:solidFill>
                <a:latin typeface="Verdana" pitchFamily="34" charset="0"/>
                <a:cs typeface="Arial" charset="0"/>
              </a:defRPr>
            </a:lvl9pPr>
          </a:lstStyle>
          <a:p>
            <a:r>
              <a:rPr lang="en-US" sz="1800" kern="0" dirty="0" smtClean="0">
                <a:solidFill>
                  <a:srgbClr val="00269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ederal Deliverables: NTD Asset Inventory Facilities Condition Scoring</a:t>
            </a:r>
          </a:p>
        </p:txBody>
      </p:sp>
      <p:sp>
        <p:nvSpPr>
          <p:cNvPr id="7" name="Content Placeholder 2"/>
          <p:cNvSpPr txBox="1">
            <a:spLocks/>
          </p:cNvSpPr>
          <p:nvPr/>
        </p:nvSpPr>
        <p:spPr>
          <a:xfrm>
            <a:off x="406586" y="1350820"/>
            <a:ext cx="8348411" cy="4988139"/>
          </a:xfrm>
          <a:prstGeom prst="rect">
            <a:avLst/>
          </a:prstGeom>
        </p:spPr>
        <p:txBody>
          <a:bodyPr>
            <a:noAutofit/>
          </a:bodyPr>
          <a:lstStyle>
            <a:lvl1pPr marL="228600" indent="-228600" algn="l" rtl="0" eaLnBrk="1" fontAlgn="base" hangingPunct="1">
              <a:spcBef>
                <a:spcPct val="100000"/>
              </a:spcBef>
              <a:spcAft>
                <a:spcPct val="0"/>
              </a:spcAft>
              <a:buClr>
                <a:srgbClr val="0033CC"/>
              </a:buClr>
              <a:buChar char="•"/>
              <a:defRPr sz="2400" b="1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  <a:lvl2pPr marL="576263" indent="-23336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Font typeface="Arial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cs typeface="+mn-cs"/>
              </a:defRPr>
            </a:lvl2pPr>
            <a:lvl3pPr marL="9144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  <a:cs typeface="+mn-cs"/>
              </a:defRPr>
            </a:lvl3pPr>
            <a:lvl4pPr marL="1262063" indent="-23336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cs typeface="+mn-cs"/>
              </a:defRPr>
            </a:lvl4pPr>
            <a:lvl5pPr marL="16002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cs typeface="+mn-cs"/>
              </a:defRPr>
            </a:lvl5pPr>
            <a:lvl6pPr marL="20574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5146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29718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4290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>
              <a:buFontTx/>
              <a:buNone/>
            </a:pPr>
            <a:r>
              <a:rPr lang="en-US" sz="1400" b="0" kern="0" dirty="0" smtClean="0">
                <a:latin typeface="Verdana" panose="020B0604030504040204" pitchFamily="34" charset="0"/>
                <a:ea typeface="Verdana" panose="020B0604030504040204" pitchFamily="34" charset="0"/>
              </a:rPr>
              <a:t>Facilities are assessed/graded for overall condition and reported to the NTD with a single  overall condition rating per facility.</a:t>
            </a:r>
          </a:p>
          <a:p>
            <a:pPr marL="0" indent="0">
              <a:buNone/>
            </a:pPr>
            <a:r>
              <a:rPr lang="en-US" sz="1400" b="0" kern="0" dirty="0" smtClean="0">
                <a:latin typeface="Verdana" panose="020B0604030504040204" pitchFamily="34" charset="0"/>
                <a:ea typeface="Verdana" panose="020B0604030504040204" pitchFamily="34" charset="0"/>
              </a:rPr>
              <a:t>Agencies are not required to use the FTA TERM Model but must report facility condition                assessment as a term rating score. </a:t>
            </a:r>
          </a:p>
          <a:p>
            <a:pPr marL="0" indent="0">
              <a:buNone/>
            </a:pPr>
            <a:r>
              <a:rPr lang="en-US" sz="1400" b="0" dirty="0" smtClean="0">
                <a:latin typeface="Verdana" panose="020B0604030504040204" pitchFamily="34" charset="0"/>
                <a:ea typeface="Verdana" panose="020B0604030504040204" pitchFamily="34" charset="0"/>
              </a:rPr>
              <a:t>Year 1, (FY19) submission requires 25</a:t>
            </a:r>
            <a:r>
              <a:rPr lang="en-US" sz="1400" b="0" dirty="0">
                <a:latin typeface="Verdana" panose="020B0604030504040204" pitchFamily="34" charset="0"/>
                <a:ea typeface="Verdana" panose="020B0604030504040204" pitchFamily="34" charset="0"/>
              </a:rPr>
              <a:t>% of all facilities </a:t>
            </a:r>
            <a:r>
              <a:rPr lang="en-US" sz="1400" b="0" dirty="0" smtClean="0">
                <a:latin typeface="Verdana" panose="020B0604030504040204" pitchFamily="34" charset="0"/>
                <a:ea typeface="Verdana" panose="020B0604030504040204" pitchFamily="34" charset="0"/>
              </a:rPr>
              <a:t>to be given </a:t>
            </a:r>
            <a:r>
              <a:rPr lang="en-US" sz="1400" b="0" dirty="0">
                <a:latin typeface="Verdana" panose="020B0604030504040204" pitchFamily="34" charset="0"/>
                <a:ea typeface="Verdana" panose="020B0604030504040204" pitchFamily="34" charset="0"/>
              </a:rPr>
              <a:t>condition ratings increasing to 100% of all facilities </a:t>
            </a:r>
            <a:r>
              <a:rPr lang="en-US" sz="1400" b="0" dirty="0" smtClean="0">
                <a:latin typeface="Verdana" panose="020B0604030504040204" pitchFamily="34" charset="0"/>
                <a:ea typeface="Verdana" panose="020B0604030504040204" pitchFamily="34" charset="0"/>
              </a:rPr>
              <a:t>within </a:t>
            </a:r>
            <a:r>
              <a:rPr lang="en-US" sz="1400" b="0" dirty="0">
                <a:latin typeface="Verdana" panose="020B0604030504040204" pitchFamily="34" charset="0"/>
                <a:ea typeface="Verdana" panose="020B0604030504040204" pitchFamily="34" charset="0"/>
              </a:rPr>
              <a:t>4 </a:t>
            </a:r>
            <a:r>
              <a:rPr lang="en-US" sz="1400" b="0" dirty="0" smtClean="0">
                <a:latin typeface="Verdana" panose="020B0604030504040204" pitchFamily="34" charset="0"/>
                <a:ea typeface="Verdana" panose="020B0604030504040204" pitchFamily="34" charset="0"/>
              </a:rPr>
              <a:t>years.</a:t>
            </a:r>
            <a:endParaRPr lang="en-US" sz="1400" b="0" dirty="0"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0" indent="0">
              <a:buNone/>
            </a:pPr>
            <a:endParaRPr lang="en-US" sz="1400" b="0" kern="0" dirty="0" smtClean="0"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0" indent="0">
              <a:buFontTx/>
              <a:buNone/>
            </a:pPr>
            <a:endParaRPr lang="en-US" sz="1600" b="0" kern="0" dirty="0" smtClean="0"/>
          </a:p>
        </p:txBody>
      </p:sp>
      <p:sp>
        <p:nvSpPr>
          <p:cNvPr id="16" name="Text Placeholder 2"/>
          <p:cNvSpPr>
            <a:spLocks noGrp="1"/>
          </p:cNvSpPr>
          <p:nvPr>
            <p:ph type="body" sz="quarter" idx="4294967295"/>
          </p:nvPr>
        </p:nvSpPr>
        <p:spPr>
          <a:xfrm>
            <a:off x="462684" y="381000"/>
            <a:ext cx="7309716" cy="228600"/>
          </a:xfrm>
          <a:prstGeom prst="rect">
            <a:avLst/>
          </a:prstGeom>
        </p:spPr>
        <p:txBody>
          <a:bodyPr/>
          <a:lstStyle/>
          <a:p>
            <a:pPr>
              <a:spcBef>
                <a:spcPct val="0"/>
              </a:spcBef>
              <a:buNone/>
            </a:pPr>
            <a:r>
              <a:rPr lang="en-US" sz="1100" dirty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rPr>
              <a:t>Transit Asset Management</a:t>
            </a: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 rotWithShape="1">
          <a:blip r:embed="rId3"/>
          <a:srcRect r="2338" b="7277"/>
          <a:stretch/>
        </p:blipFill>
        <p:spPr>
          <a:xfrm>
            <a:off x="406586" y="3187867"/>
            <a:ext cx="6784150" cy="30420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964100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462685" y="838200"/>
            <a:ext cx="7751547" cy="466344"/>
          </a:xfrm>
        </p:spPr>
        <p:txBody>
          <a:bodyPr/>
          <a:lstStyle/>
          <a:p>
            <a:r>
              <a:rPr lang="en-US" dirty="0" smtClean="0"/>
              <a:t>NTD Asset Inventory Data Collection (1 of 2)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r>
              <a:rPr lang="en-US" dirty="0" smtClean="0"/>
              <a:t>Asset Inventory Module</a:t>
            </a:r>
            <a:endParaRPr lang="en-US" dirty="0"/>
          </a:p>
        </p:txBody>
      </p:sp>
      <p:graphicFrame>
        <p:nvGraphicFramePr>
          <p:cNvPr id="3" name="Tab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08564122"/>
              </p:ext>
            </p:extLst>
          </p:nvPr>
        </p:nvGraphicFramePr>
        <p:xfrm>
          <a:off x="462684" y="1412240"/>
          <a:ext cx="8300317" cy="42672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16492">
                  <a:extLst>
                    <a:ext uri="{9D8B030D-6E8A-4147-A177-3AD203B41FA5}">
                      <a16:colId xmlns:a16="http://schemas.microsoft.com/office/drawing/2014/main" val="2797947532"/>
                    </a:ext>
                  </a:extLst>
                </a:gridCol>
                <a:gridCol w="1685365">
                  <a:extLst>
                    <a:ext uri="{9D8B030D-6E8A-4147-A177-3AD203B41FA5}">
                      <a16:colId xmlns:a16="http://schemas.microsoft.com/office/drawing/2014/main" val="3493142758"/>
                    </a:ext>
                  </a:extLst>
                </a:gridCol>
                <a:gridCol w="1927412">
                  <a:extLst>
                    <a:ext uri="{9D8B030D-6E8A-4147-A177-3AD203B41FA5}">
                      <a16:colId xmlns:a16="http://schemas.microsoft.com/office/drawing/2014/main" val="1138400133"/>
                    </a:ext>
                  </a:extLst>
                </a:gridCol>
                <a:gridCol w="3671048">
                  <a:extLst>
                    <a:ext uri="{9D8B030D-6E8A-4147-A177-3AD203B41FA5}">
                      <a16:colId xmlns:a16="http://schemas.microsoft.com/office/drawing/2014/main" val="578934384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sz="1200" b="0" dirty="0" smtClean="0">
                          <a:solidFill>
                            <a:schemeClr val="tx1"/>
                          </a:solidFill>
                        </a:rPr>
                        <a:t>NTD Form Number</a:t>
                      </a:r>
                      <a:endParaRPr lang="en-US" sz="1200" b="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b="0" dirty="0" smtClean="0">
                          <a:solidFill>
                            <a:schemeClr val="tx1"/>
                          </a:solidFill>
                        </a:rPr>
                        <a:t>Reporting Category</a:t>
                      </a:r>
                      <a:endParaRPr lang="en-US" sz="1200" b="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b="0" dirty="0" smtClean="0">
                          <a:solidFill>
                            <a:schemeClr val="tx1"/>
                          </a:solidFill>
                        </a:rPr>
                        <a:t>FY18</a:t>
                      </a:r>
                      <a:r>
                        <a:rPr lang="en-US" sz="1200" b="0" baseline="0" dirty="0" smtClean="0">
                          <a:solidFill>
                            <a:schemeClr val="tx1"/>
                          </a:solidFill>
                        </a:rPr>
                        <a:t> NTD</a:t>
                      </a:r>
                      <a:r>
                        <a:rPr lang="en-US" sz="1200" b="0" dirty="0" smtClean="0">
                          <a:solidFill>
                            <a:schemeClr val="tx1"/>
                          </a:solidFill>
                        </a:rPr>
                        <a:t> Reporting </a:t>
                      </a:r>
                      <a:endParaRPr lang="en-US" sz="1200" b="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b="0" dirty="0" smtClean="0">
                          <a:solidFill>
                            <a:schemeClr val="tx1"/>
                          </a:solidFill>
                        </a:rPr>
                        <a:t>FY19 NTD Reporting (FY19)</a:t>
                      </a:r>
                      <a:endParaRPr lang="en-US" sz="1200" b="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91826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100" dirty="0" smtClean="0"/>
                        <a:t>A-1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100" dirty="0" smtClean="0"/>
                        <a:t>Administrative and Maintenance Facilities</a:t>
                      </a:r>
                    </a:p>
                    <a:p>
                      <a:endParaRPr lang="en-US" sz="1100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100" dirty="0" smtClean="0"/>
                        <a:t>Count (quantity) of maintenance</a:t>
                      </a:r>
                    </a:p>
                    <a:p>
                      <a:r>
                        <a:rPr lang="en-US" sz="1100" dirty="0" smtClean="0"/>
                        <a:t>facilities, grouped by capacity </a:t>
                      </a:r>
                      <a:endParaRPr lang="en-US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100" dirty="0" smtClean="0"/>
                        <a:t>Individual facility inventory: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1100" dirty="0" smtClean="0"/>
                        <a:t>type,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1100" dirty="0" smtClean="0"/>
                        <a:t>location,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1100" dirty="0" smtClean="0"/>
                        <a:t>square footage and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1100" dirty="0" smtClean="0"/>
                        <a:t>condition rating*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5916080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100" dirty="0" smtClean="0"/>
                        <a:t>A-1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100" dirty="0" smtClean="0"/>
                        <a:t>Passenger Stations and</a:t>
                      </a:r>
                      <a:r>
                        <a:rPr lang="en-US" sz="1100" baseline="0" dirty="0" smtClean="0"/>
                        <a:t> </a:t>
                      </a:r>
                      <a:r>
                        <a:rPr lang="en-US" sz="1100" dirty="0" smtClean="0"/>
                        <a:t>Parking </a:t>
                      </a:r>
                    </a:p>
                    <a:p>
                      <a:endParaRPr lang="en-US" sz="1100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100" dirty="0" smtClean="0"/>
                        <a:t>Count (quantity) of passenger stations,</a:t>
                      </a:r>
                    </a:p>
                    <a:p>
                      <a:r>
                        <a:rPr lang="en-US" sz="1100" dirty="0" smtClean="0"/>
                        <a:t>Only</a:t>
                      </a:r>
                      <a:endParaRPr lang="en-US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100" dirty="0" smtClean="0"/>
                        <a:t>Individual facility inventory: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1100" dirty="0" smtClean="0"/>
                        <a:t>type,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1100" dirty="0" smtClean="0"/>
                        <a:t>location,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1100" dirty="0" smtClean="0"/>
                        <a:t>square footage,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1100" dirty="0" smtClean="0"/>
                        <a:t>condition rating* and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1100" dirty="0" smtClean="0"/>
                        <a:t>capital responsibility</a:t>
                      </a:r>
                      <a:endParaRPr lang="en-US" sz="11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054224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100" dirty="0" smtClean="0"/>
                        <a:t>A-20</a:t>
                      </a:r>
                      <a:endParaRPr lang="en-US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100" dirty="0" smtClean="0"/>
                        <a:t>Rail Track</a:t>
                      </a:r>
                      <a:endParaRPr lang="en-US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100" dirty="0" smtClean="0"/>
                        <a:t>Current reporting mixes track</a:t>
                      </a:r>
                    </a:p>
                    <a:p>
                      <a:r>
                        <a:rPr lang="en-US" sz="1100" dirty="0" smtClean="0"/>
                        <a:t>and guideway</a:t>
                      </a:r>
                      <a:endParaRPr lang="en-US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100" dirty="0" smtClean="0"/>
                        <a:t>Track mileage by type</a:t>
                      </a:r>
                      <a:r>
                        <a:rPr lang="en-US" sz="1100" baseline="0" dirty="0" smtClean="0"/>
                        <a:t> </a:t>
                      </a:r>
                      <a:r>
                        <a:rPr lang="en-US" sz="1100" dirty="0" smtClean="0"/>
                        <a:t>(e.g. tangent or curved).</a:t>
                      </a:r>
                      <a:r>
                        <a:rPr lang="en-US" sz="1100" baseline="0" dirty="0" smtClean="0"/>
                        <a:t> </a:t>
                      </a:r>
                      <a:r>
                        <a:rPr lang="en-US" sz="1100" dirty="0" smtClean="0"/>
                        <a:t>Must also report major track elements e.g. crossovers</a:t>
                      </a:r>
                      <a:endParaRPr lang="en-US" sz="11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1134079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100" dirty="0" smtClean="0"/>
                        <a:t>A-20</a:t>
                      </a:r>
                      <a:endParaRPr lang="en-US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100" dirty="0" smtClean="0"/>
                        <a:t>Fixed Guideway</a:t>
                      </a:r>
                      <a:endParaRPr lang="en-US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100" dirty="0" smtClean="0"/>
                        <a:t>N/A</a:t>
                      </a:r>
                      <a:r>
                        <a:rPr lang="en-US" sz="1100" baseline="0" dirty="0" smtClean="0"/>
                        <a:t> Did not require reporting</a:t>
                      </a:r>
                      <a:endParaRPr lang="en-US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100" dirty="0" smtClean="0"/>
                        <a:t>Guideway by construction type</a:t>
                      </a:r>
                    </a:p>
                    <a:p>
                      <a:r>
                        <a:rPr lang="en-US" sz="1100" dirty="0" smtClean="0"/>
                        <a:t>(e.g. elevated, tunnel, etc.),</a:t>
                      </a:r>
                      <a:r>
                        <a:rPr lang="en-US" sz="1100" baseline="0" dirty="0" smtClean="0"/>
                        <a:t> </a:t>
                      </a:r>
                      <a:r>
                        <a:rPr lang="en-US" sz="1100" dirty="0" smtClean="0"/>
                        <a:t>each divided into 10-year age</a:t>
                      </a:r>
                      <a:r>
                        <a:rPr lang="en-US" sz="1100" baseline="0" dirty="0" smtClean="0"/>
                        <a:t> </a:t>
                      </a:r>
                      <a:r>
                        <a:rPr lang="en-US" sz="1100" dirty="0" smtClean="0"/>
                        <a:t>buckets </a:t>
                      </a:r>
                      <a:endParaRPr lang="en-US" sz="11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7115589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100" dirty="0" smtClean="0"/>
                        <a:t>A-20</a:t>
                      </a:r>
                      <a:endParaRPr lang="en-US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100" dirty="0" smtClean="0"/>
                        <a:t>Substations</a:t>
                      </a:r>
                      <a:endParaRPr lang="en-US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100" dirty="0" smtClean="0"/>
                        <a:t>N/A</a:t>
                      </a:r>
                      <a:r>
                        <a:rPr lang="en-US" sz="1100" baseline="0" dirty="0" smtClean="0"/>
                        <a:t> Did not require reporting</a:t>
                      </a:r>
                      <a:endParaRPr lang="en-US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100" dirty="0" smtClean="0"/>
                        <a:t>Count of substation structures</a:t>
                      </a:r>
                      <a:r>
                        <a:rPr lang="en-US" sz="1100" baseline="0" dirty="0" smtClean="0"/>
                        <a:t> </a:t>
                      </a:r>
                      <a:r>
                        <a:rPr lang="en-US" sz="1100" dirty="0" smtClean="0"/>
                        <a:t>and substation equipment, each</a:t>
                      </a:r>
                      <a:r>
                        <a:rPr lang="en-US" sz="1100" baseline="0" dirty="0" smtClean="0"/>
                        <a:t> </a:t>
                      </a:r>
                      <a:r>
                        <a:rPr lang="en-US" sz="1100" dirty="0" smtClean="0"/>
                        <a:t>divided into 10-year age</a:t>
                      </a:r>
                      <a:r>
                        <a:rPr lang="en-US" sz="1100" baseline="0" dirty="0" smtClean="0"/>
                        <a:t> </a:t>
                      </a:r>
                      <a:r>
                        <a:rPr lang="en-US" sz="1100" dirty="0" smtClean="0"/>
                        <a:t>buckets </a:t>
                      </a:r>
                      <a:endParaRPr lang="en-US" sz="11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98400693"/>
                  </a:ext>
                </a:extLst>
              </a:tr>
            </a:tbl>
          </a:graphicData>
        </a:graphic>
      </p:graphicFrame>
      <p:sp>
        <p:nvSpPr>
          <p:cNvPr id="4" name="TextBox 3"/>
          <p:cNvSpPr txBox="1"/>
          <p:nvPr/>
        </p:nvSpPr>
        <p:spPr>
          <a:xfrm>
            <a:off x="462684" y="5626481"/>
            <a:ext cx="8224116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33363" indent="-233363">
              <a:tabLst>
                <a:tab pos="233363" algn="l"/>
              </a:tabLst>
            </a:pPr>
            <a:r>
              <a:rPr lang="en-US" sz="1100" dirty="0" smtClean="0">
                <a:latin typeface="+mj-lt"/>
              </a:rPr>
              <a:t>* 	Note</a:t>
            </a:r>
            <a:r>
              <a:rPr lang="en-US" sz="1100" dirty="0">
                <a:latin typeface="+mj-lt"/>
              </a:rPr>
              <a:t>: Facilities condition assessments must be updated every four years at </a:t>
            </a:r>
            <a:r>
              <a:rPr lang="en-US" sz="1100" dirty="0" smtClean="0">
                <a:latin typeface="+mj-lt"/>
              </a:rPr>
              <a:t>minimum. Beginning </a:t>
            </a:r>
            <a:r>
              <a:rPr lang="en-US" sz="1100" dirty="0">
                <a:latin typeface="+mj-lt"/>
              </a:rPr>
              <a:t>in Report Year </a:t>
            </a:r>
            <a:r>
              <a:rPr lang="en-US" sz="1100" dirty="0" smtClean="0">
                <a:latin typeface="+mj-lt"/>
              </a:rPr>
              <a:t>2018 (Year 1), </a:t>
            </a:r>
            <a:r>
              <a:rPr lang="en-US" sz="1100" dirty="0">
                <a:latin typeface="+mj-lt"/>
              </a:rPr>
              <a:t>agencies must report </a:t>
            </a:r>
            <a:r>
              <a:rPr lang="en-US" sz="1100" b="1" dirty="0">
                <a:latin typeface="+mj-lt"/>
              </a:rPr>
              <a:t>at least 25% of </a:t>
            </a:r>
            <a:r>
              <a:rPr lang="en-US" sz="1100" b="1" dirty="0" smtClean="0">
                <a:latin typeface="+mj-lt"/>
              </a:rPr>
              <a:t>their facility </a:t>
            </a:r>
            <a:r>
              <a:rPr lang="en-US" sz="1100" b="1" dirty="0">
                <a:latin typeface="+mj-lt"/>
              </a:rPr>
              <a:t>condition assessments</a:t>
            </a:r>
            <a:r>
              <a:rPr lang="en-US" sz="1100" dirty="0">
                <a:latin typeface="+mj-lt"/>
              </a:rPr>
              <a:t>. Agencies must report all condition assessment </a:t>
            </a:r>
            <a:r>
              <a:rPr lang="en-US" sz="1100" dirty="0" smtClean="0">
                <a:latin typeface="+mj-lt"/>
              </a:rPr>
              <a:t>by Report </a:t>
            </a:r>
            <a:r>
              <a:rPr lang="en-US" sz="1100" dirty="0">
                <a:latin typeface="+mj-lt"/>
              </a:rPr>
              <a:t>Year 2021.</a:t>
            </a:r>
            <a:endParaRPr lang="en-US" sz="1100" dirty="0" smtClean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26123556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462685" y="838200"/>
            <a:ext cx="7751547" cy="466344"/>
          </a:xfrm>
        </p:spPr>
        <p:txBody>
          <a:bodyPr/>
          <a:lstStyle/>
          <a:p>
            <a:r>
              <a:rPr lang="en-US" dirty="0" smtClean="0"/>
              <a:t>NTD Asset Inventory Data Collection (2 of 2)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r>
              <a:rPr lang="en-US" dirty="0" smtClean="0"/>
              <a:t>Asset Inventory Module</a:t>
            </a:r>
            <a:endParaRPr lang="en-US" dirty="0"/>
          </a:p>
        </p:txBody>
      </p:sp>
      <p:graphicFrame>
        <p:nvGraphicFramePr>
          <p:cNvPr id="3" name="Tab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66159431"/>
              </p:ext>
            </p:extLst>
          </p:nvPr>
        </p:nvGraphicFramePr>
        <p:xfrm>
          <a:off x="462684" y="1442720"/>
          <a:ext cx="8300317" cy="31699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80634">
                  <a:extLst>
                    <a:ext uri="{9D8B030D-6E8A-4147-A177-3AD203B41FA5}">
                      <a16:colId xmlns:a16="http://schemas.microsoft.com/office/drawing/2014/main" val="1650910161"/>
                    </a:ext>
                  </a:extLst>
                </a:gridCol>
                <a:gridCol w="1649506">
                  <a:extLst>
                    <a:ext uri="{9D8B030D-6E8A-4147-A177-3AD203B41FA5}">
                      <a16:colId xmlns:a16="http://schemas.microsoft.com/office/drawing/2014/main" val="3493142758"/>
                    </a:ext>
                  </a:extLst>
                </a:gridCol>
                <a:gridCol w="1963270">
                  <a:extLst>
                    <a:ext uri="{9D8B030D-6E8A-4147-A177-3AD203B41FA5}">
                      <a16:colId xmlns:a16="http://schemas.microsoft.com/office/drawing/2014/main" val="1138400133"/>
                    </a:ext>
                  </a:extLst>
                </a:gridCol>
                <a:gridCol w="3706907">
                  <a:extLst>
                    <a:ext uri="{9D8B030D-6E8A-4147-A177-3AD203B41FA5}">
                      <a16:colId xmlns:a16="http://schemas.microsoft.com/office/drawing/2014/main" val="578934384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sz="1200" b="0" dirty="0" smtClean="0">
                          <a:solidFill>
                            <a:schemeClr val="tx1"/>
                          </a:solidFill>
                        </a:rPr>
                        <a:t>NTD Form</a:t>
                      </a:r>
                      <a:r>
                        <a:rPr lang="en-US" sz="1200" b="0" baseline="0" dirty="0" smtClean="0">
                          <a:solidFill>
                            <a:schemeClr val="tx1"/>
                          </a:solidFill>
                        </a:rPr>
                        <a:t> Number</a:t>
                      </a:r>
                      <a:endParaRPr lang="en-US" sz="1200" b="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b="0" dirty="0" smtClean="0">
                          <a:solidFill>
                            <a:schemeClr val="tx1"/>
                          </a:solidFill>
                        </a:rPr>
                        <a:t>Reporting Category</a:t>
                      </a:r>
                      <a:endParaRPr lang="en-US" sz="1200" b="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b="0" dirty="0" smtClean="0">
                          <a:solidFill>
                            <a:schemeClr val="tx1"/>
                          </a:solidFill>
                        </a:rPr>
                        <a:t>FY18 NTD Reporting</a:t>
                      </a:r>
                      <a:endParaRPr lang="en-US" sz="1200" b="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b="0" dirty="0" smtClean="0">
                          <a:solidFill>
                            <a:schemeClr val="tx1"/>
                          </a:solidFill>
                        </a:rPr>
                        <a:t>FY19 NTD Reporting</a:t>
                      </a:r>
                      <a:endParaRPr lang="en-US" sz="1200" b="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91826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100" dirty="0" smtClean="0"/>
                        <a:t>A-20</a:t>
                      </a:r>
                      <a:endParaRPr lang="en-US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100" dirty="0" smtClean="0"/>
                        <a:t>Signals</a:t>
                      </a:r>
                      <a:endParaRPr lang="en-US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100" dirty="0" smtClean="0"/>
                        <a:t>N/A</a:t>
                      </a:r>
                      <a:r>
                        <a:rPr lang="en-US" sz="1100" baseline="0" dirty="0" smtClean="0"/>
                        <a:t> Did not require reporting</a:t>
                      </a:r>
                      <a:endParaRPr lang="en-US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100" dirty="0" smtClean="0"/>
                        <a:t>Percentage of signal assets total</a:t>
                      </a:r>
                    </a:p>
                    <a:p>
                      <a:r>
                        <a:rPr lang="en-US" sz="1100" dirty="0" smtClean="0"/>
                        <a:t>value divided into 10-year age</a:t>
                      </a:r>
                    </a:p>
                    <a:p>
                      <a:r>
                        <a:rPr lang="en-US" sz="1100" dirty="0" smtClean="0"/>
                        <a:t>buckets </a:t>
                      </a:r>
                      <a:endParaRPr lang="en-US" sz="11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5916080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100" dirty="0" smtClean="0"/>
                        <a:t>A-20</a:t>
                      </a:r>
                      <a:endParaRPr lang="en-US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100" dirty="0" smtClean="0"/>
                        <a:t>Power</a:t>
                      </a:r>
                      <a:endParaRPr lang="en-US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100" dirty="0" smtClean="0"/>
                        <a:t>N/A</a:t>
                      </a:r>
                      <a:r>
                        <a:rPr lang="en-US" sz="1100" baseline="0" dirty="0" smtClean="0"/>
                        <a:t> Did not require reporting</a:t>
                      </a:r>
                      <a:endParaRPr lang="en-US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100" dirty="0" smtClean="0"/>
                        <a:t>Percentage of total value of</a:t>
                      </a:r>
                    </a:p>
                    <a:p>
                      <a:r>
                        <a:rPr lang="en-US" sz="1100" dirty="0" smtClean="0"/>
                        <a:t>third rail or catenary in 10-year</a:t>
                      </a:r>
                    </a:p>
                    <a:p>
                      <a:r>
                        <a:rPr lang="en-US" sz="1100" dirty="0" smtClean="0"/>
                        <a:t>age buckets</a:t>
                      </a:r>
                      <a:endParaRPr lang="en-US" sz="11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054224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100" dirty="0" smtClean="0"/>
                        <a:t>A-30</a:t>
                      </a:r>
                      <a:endParaRPr lang="en-US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100" dirty="0" smtClean="0"/>
                        <a:t>Revenue Vehicles</a:t>
                      </a:r>
                      <a:endParaRPr lang="en-US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100" dirty="0" smtClean="0"/>
                        <a:t>Detailed count of vehicles</a:t>
                      </a:r>
                    </a:p>
                    <a:p>
                      <a:r>
                        <a:rPr lang="en-US" sz="1100" dirty="0" smtClean="0"/>
                        <a:t>by type, capacity, age, etc.</a:t>
                      </a:r>
                      <a:endParaRPr lang="en-US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100" dirty="0" smtClean="0"/>
                        <a:t>Detailed count of vehicles</a:t>
                      </a:r>
                    </a:p>
                    <a:p>
                      <a:r>
                        <a:rPr lang="en-US" sz="1100" dirty="0" smtClean="0"/>
                        <a:t>by type, capacity, age, etc.</a:t>
                      </a:r>
                    </a:p>
                    <a:p>
                      <a:r>
                        <a:rPr lang="en-US" sz="1100" dirty="0" smtClean="0"/>
                        <a:t>useful life</a:t>
                      </a:r>
                      <a:r>
                        <a:rPr lang="en-US" sz="1100" baseline="0" dirty="0" smtClean="0"/>
                        <a:t> </a:t>
                      </a:r>
                      <a:r>
                        <a:rPr lang="en-US" sz="1100" dirty="0" smtClean="0"/>
                        <a:t>benchmark </a:t>
                      </a:r>
                      <a:endParaRPr lang="en-US" sz="11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1134079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100" dirty="0" smtClean="0"/>
                        <a:t>A-35</a:t>
                      </a:r>
                      <a:endParaRPr lang="en-US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100" dirty="0" smtClean="0"/>
                        <a:t>Service Vehicles</a:t>
                      </a:r>
                      <a:endParaRPr lang="en-US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100" dirty="0" err="1" smtClean="0"/>
                        <a:t>xxxxx</a:t>
                      </a:r>
                      <a:endParaRPr lang="en-US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100" dirty="0" smtClean="0"/>
                        <a:t>Detailed count of vehicles</a:t>
                      </a:r>
                    </a:p>
                    <a:p>
                      <a:r>
                        <a:rPr lang="en-US" sz="1100" dirty="0" smtClean="0"/>
                        <a:t>by type, age, etc.</a:t>
                      </a:r>
                    </a:p>
                    <a:p>
                      <a:r>
                        <a:rPr lang="en-US" sz="1100" dirty="0" smtClean="0"/>
                        <a:t>A useful life benchmark for</a:t>
                      </a:r>
                    </a:p>
                    <a:p>
                      <a:r>
                        <a:rPr lang="en-US" sz="1100" dirty="0" smtClean="0"/>
                        <a:t>each vehicle type </a:t>
                      </a:r>
                      <a:endParaRPr lang="en-US" sz="11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71155893"/>
                  </a:ext>
                </a:extLst>
              </a:tr>
            </a:tbl>
          </a:graphicData>
        </a:graphic>
      </p:graphicFrame>
      <p:sp>
        <p:nvSpPr>
          <p:cNvPr id="2" name="TextBox 1"/>
          <p:cNvSpPr txBox="1"/>
          <p:nvPr/>
        </p:nvSpPr>
        <p:spPr>
          <a:xfrm>
            <a:off x="462684" y="4583176"/>
            <a:ext cx="8077200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spcAft>
                <a:spcPts val="600"/>
              </a:spcAft>
            </a:pPr>
            <a:r>
              <a:rPr lang="en-US" sz="1400" b="1" dirty="0" smtClean="0">
                <a:latin typeface="+mj-lt"/>
              </a:rPr>
              <a:t>Ongoing reporting requirements:</a:t>
            </a:r>
          </a:p>
          <a:p>
            <a:pPr marL="457200" indent="-2286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400" dirty="0" smtClean="0">
                <a:latin typeface="+mj-lt"/>
              </a:rPr>
              <a:t>Projected </a:t>
            </a:r>
            <a:r>
              <a:rPr lang="en-US" sz="1400" dirty="0">
                <a:latin typeface="+mj-lt"/>
              </a:rPr>
              <a:t>performance targets for next fiscal year – entered </a:t>
            </a:r>
            <a:r>
              <a:rPr lang="en-US" sz="1400" dirty="0" smtClean="0">
                <a:latin typeface="+mj-lt"/>
              </a:rPr>
              <a:t>with annual </a:t>
            </a:r>
            <a:r>
              <a:rPr lang="en-US" sz="1400" dirty="0">
                <a:latin typeface="+mj-lt"/>
              </a:rPr>
              <a:t>report</a:t>
            </a:r>
          </a:p>
          <a:p>
            <a:pPr marL="457200" indent="-2286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400" dirty="0" smtClean="0">
                <a:latin typeface="+mj-lt"/>
              </a:rPr>
              <a:t>Facilities </a:t>
            </a:r>
            <a:r>
              <a:rPr lang="en-US" sz="1400" dirty="0">
                <a:latin typeface="+mj-lt"/>
              </a:rPr>
              <a:t>Condition and Performance Assessments </a:t>
            </a:r>
            <a:endParaRPr lang="en-US" sz="1400" dirty="0" smtClean="0">
              <a:latin typeface="+mj-lt"/>
            </a:endParaRPr>
          </a:p>
          <a:p>
            <a:pPr marL="457200" indent="-2286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400" dirty="0" smtClean="0">
                <a:latin typeface="+mj-lt"/>
              </a:rPr>
              <a:t>Performance </a:t>
            </a:r>
            <a:r>
              <a:rPr lang="en-US" sz="1400" dirty="0">
                <a:latin typeface="+mj-lt"/>
              </a:rPr>
              <a:t>Restrictions (slow </a:t>
            </a:r>
            <a:r>
              <a:rPr lang="en-US" sz="1400" dirty="0" smtClean="0">
                <a:latin typeface="+mj-lt"/>
              </a:rPr>
              <a:t>zone </a:t>
            </a:r>
            <a:r>
              <a:rPr lang="en-US" sz="1400" dirty="0">
                <a:latin typeface="+mj-lt"/>
              </a:rPr>
              <a:t>measure</a:t>
            </a:r>
            <a:r>
              <a:rPr lang="en-US" sz="1400" dirty="0" smtClean="0">
                <a:latin typeface="+mj-lt"/>
              </a:rPr>
              <a:t>)</a:t>
            </a:r>
          </a:p>
          <a:p>
            <a:pPr marL="457200" indent="-2286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400" dirty="0" smtClean="0">
                <a:latin typeface="+mj-lt"/>
              </a:rPr>
              <a:t>Narrative Report describing change </a:t>
            </a:r>
            <a:r>
              <a:rPr lang="en-US" sz="1400" dirty="0">
                <a:latin typeface="+mj-lt"/>
              </a:rPr>
              <a:t>in </a:t>
            </a:r>
            <a:r>
              <a:rPr lang="en-US" sz="1400" dirty="0" smtClean="0">
                <a:latin typeface="+mj-lt"/>
              </a:rPr>
              <a:t>condition and progress </a:t>
            </a:r>
            <a:r>
              <a:rPr lang="en-US" sz="1400" dirty="0">
                <a:latin typeface="+mj-lt"/>
              </a:rPr>
              <a:t>toward </a:t>
            </a:r>
            <a:r>
              <a:rPr lang="en-US" sz="1400" dirty="0" smtClean="0">
                <a:latin typeface="+mj-lt"/>
              </a:rPr>
              <a:t>targets</a:t>
            </a:r>
          </a:p>
        </p:txBody>
      </p:sp>
    </p:spTree>
    <p:extLst>
      <p:ext uri="{BB962C8B-B14F-4D97-AF65-F5344CB8AC3E}">
        <p14:creationId xmlns:p14="http://schemas.microsoft.com/office/powerpoint/2010/main" val="26914729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 txBox="1">
            <a:spLocks/>
          </p:cNvSpPr>
          <p:nvPr/>
        </p:nvSpPr>
        <p:spPr>
          <a:xfrm>
            <a:off x="462685" y="884476"/>
            <a:ext cx="8348410" cy="466344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033CC"/>
                </a:solidFill>
                <a:latin typeface="Calibri" panose="020F0502020204030204" pitchFamily="34" charset="0"/>
                <a:ea typeface="+mj-ea"/>
                <a:cs typeface="+mj-cs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033CC"/>
                </a:solidFill>
                <a:latin typeface="Calibri" panose="020F0502020204030204" pitchFamily="34" charset="0"/>
                <a:cs typeface="Arial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033CC"/>
                </a:solidFill>
                <a:latin typeface="Calibri" panose="020F0502020204030204" pitchFamily="34" charset="0"/>
                <a:cs typeface="Arial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033CC"/>
                </a:solidFill>
                <a:latin typeface="Calibri" panose="020F0502020204030204" pitchFamily="34" charset="0"/>
                <a:cs typeface="Arial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033CC"/>
                </a:solidFill>
                <a:latin typeface="Calibri" panose="020F0502020204030204" pitchFamily="34" charset="0"/>
                <a:cs typeface="Arial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33CC"/>
                </a:solidFill>
                <a:latin typeface="Verdana" pitchFamily="34" charset="0"/>
                <a:cs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33CC"/>
                </a:solidFill>
                <a:latin typeface="Verdana" pitchFamily="34" charset="0"/>
                <a:cs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33CC"/>
                </a:solidFill>
                <a:latin typeface="Verdana" pitchFamily="34" charset="0"/>
                <a:cs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33CC"/>
                </a:solidFill>
                <a:latin typeface="Verdana" pitchFamily="34" charset="0"/>
                <a:cs typeface="Arial" charset="0"/>
              </a:defRPr>
            </a:lvl9pPr>
          </a:lstStyle>
          <a:p>
            <a:r>
              <a:rPr lang="en-US" sz="1800" kern="0" dirty="0" smtClean="0">
                <a:solidFill>
                  <a:srgbClr val="00269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ederal Deliverables: NTD Asset Inventory Reporting Categories</a:t>
            </a:r>
          </a:p>
        </p:txBody>
      </p:sp>
      <p:sp>
        <p:nvSpPr>
          <p:cNvPr id="16" name="Text Placeholder 2"/>
          <p:cNvSpPr>
            <a:spLocks noGrp="1"/>
          </p:cNvSpPr>
          <p:nvPr>
            <p:ph type="body" sz="quarter" idx="4294967295"/>
          </p:nvPr>
        </p:nvSpPr>
        <p:spPr>
          <a:xfrm>
            <a:off x="462684" y="381000"/>
            <a:ext cx="7309716" cy="228600"/>
          </a:xfrm>
          <a:prstGeom prst="rect">
            <a:avLst/>
          </a:prstGeom>
        </p:spPr>
        <p:txBody>
          <a:bodyPr/>
          <a:lstStyle/>
          <a:p>
            <a:pPr>
              <a:spcBef>
                <a:spcPct val="0"/>
              </a:spcBef>
              <a:buNone/>
            </a:pPr>
            <a:r>
              <a:rPr lang="en-US" sz="1100" dirty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rPr>
              <a:t>Transit Asset Management</a:t>
            </a: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30978" y="1409492"/>
            <a:ext cx="1990519" cy="1324600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3200399" y="1409492"/>
            <a:ext cx="4969565" cy="123110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/>
            <a:r>
              <a:rPr lang="en-US" sz="1400" b="1" dirty="0" smtClean="0">
                <a:solidFill>
                  <a:srgbClr val="00269E"/>
                </a:solidFill>
              </a:rPr>
              <a:t>Commuter Rail Maintenance Facility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dirty="0"/>
              <a:t>location,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dirty="0"/>
              <a:t>square footage and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dirty="0"/>
              <a:t>condition rating* </a:t>
            </a:r>
          </a:p>
          <a:p>
            <a:pPr marL="342900" indent="-342900"/>
            <a:endParaRPr lang="en-US" b="1" dirty="0" smtClean="0">
              <a:latin typeface="+mj-lt"/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26218" y="2892287"/>
            <a:ext cx="1995279" cy="1306995"/>
          </a:xfrm>
          <a:prstGeom prst="rect">
            <a:avLst/>
          </a:prstGeom>
        </p:spPr>
      </p:pic>
      <p:sp>
        <p:nvSpPr>
          <p:cNvPr id="5" name="TextBox 4"/>
          <p:cNvSpPr txBox="1"/>
          <p:nvPr/>
        </p:nvSpPr>
        <p:spPr>
          <a:xfrm>
            <a:off x="3200399" y="2892287"/>
            <a:ext cx="4601817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/>
            <a:r>
              <a:rPr lang="en-US" sz="1400" b="1" dirty="0" smtClean="0">
                <a:solidFill>
                  <a:srgbClr val="00269E"/>
                </a:solidFill>
                <a:latin typeface="+mj-lt"/>
              </a:rPr>
              <a:t>Rail Track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1400" dirty="0" smtClean="0"/>
              <a:t>Track </a:t>
            </a:r>
            <a:r>
              <a:rPr lang="en-US" sz="1400" dirty="0"/>
              <a:t>mileage by type (e.g. tangent or </a:t>
            </a:r>
            <a:r>
              <a:rPr lang="en-US" sz="1400" dirty="0" smtClean="0"/>
              <a:t>curved).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1400" dirty="0" smtClean="0"/>
              <a:t>Must </a:t>
            </a:r>
            <a:r>
              <a:rPr lang="en-US" sz="1400" dirty="0"/>
              <a:t>also report major track elements e.g. crossovers</a:t>
            </a:r>
            <a:endParaRPr lang="en-US" sz="1400" b="1" dirty="0" smtClean="0">
              <a:latin typeface="+mj-lt"/>
            </a:endParaRP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26219" y="4357477"/>
            <a:ext cx="1995278" cy="1541397"/>
          </a:xfrm>
          <a:prstGeom prst="rect">
            <a:avLst/>
          </a:prstGeom>
        </p:spPr>
      </p:pic>
      <p:sp>
        <p:nvSpPr>
          <p:cNvPr id="9" name="TextBox 8"/>
          <p:cNvSpPr txBox="1"/>
          <p:nvPr/>
        </p:nvSpPr>
        <p:spPr>
          <a:xfrm>
            <a:off x="3200399" y="4586909"/>
            <a:ext cx="4388125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/>
            <a:r>
              <a:rPr lang="en-US" sz="1400" b="1" dirty="0" smtClean="0">
                <a:solidFill>
                  <a:srgbClr val="00269E"/>
                </a:solidFill>
                <a:latin typeface="+mj-lt"/>
              </a:rPr>
              <a:t>Signal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Percentage of signal assets </a:t>
            </a:r>
            <a:r>
              <a:rPr lang="en-US" sz="1400" dirty="0" smtClean="0"/>
              <a:t>total value </a:t>
            </a:r>
            <a:r>
              <a:rPr lang="en-US" sz="1400" dirty="0"/>
              <a:t>divided into 10-year </a:t>
            </a:r>
            <a:r>
              <a:rPr lang="en-US" sz="1400" dirty="0" smtClean="0"/>
              <a:t>age buckets </a:t>
            </a:r>
            <a:endParaRPr lang="en-US" sz="1400" dirty="0"/>
          </a:p>
          <a:p>
            <a:pPr marL="342900" indent="-342900"/>
            <a:endParaRPr lang="en-US" sz="1400" b="1" dirty="0" smtClean="0">
              <a:latin typeface="+mj-lt"/>
            </a:endParaRPr>
          </a:p>
          <a:p>
            <a:pPr marL="342900" indent="-342900"/>
            <a:endParaRPr lang="en-US" sz="1400" b="1" dirty="0" smtClean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22997609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 txBox="1">
            <a:spLocks/>
          </p:cNvSpPr>
          <p:nvPr/>
        </p:nvSpPr>
        <p:spPr>
          <a:xfrm>
            <a:off x="462685" y="884476"/>
            <a:ext cx="8348410" cy="466344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033CC"/>
                </a:solidFill>
                <a:latin typeface="Calibri" panose="020F0502020204030204" pitchFamily="34" charset="0"/>
                <a:ea typeface="+mj-ea"/>
                <a:cs typeface="+mj-cs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033CC"/>
                </a:solidFill>
                <a:latin typeface="Calibri" panose="020F0502020204030204" pitchFamily="34" charset="0"/>
                <a:cs typeface="Arial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033CC"/>
                </a:solidFill>
                <a:latin typeface="Calibri" panose="020F0502020204030204" pitchFamily="34" charset="0"/>
                <a:cs typeface="Arial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033CC"/>
                </a:solidFill>
                <a:latin typeface="Calibri" panose="020F0502020204030204" pitchFamily="34" charset="0"/>
                <a:cs typeface="Arial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033CC"/>
                </a:solidFill>
                <a:latin typeface="Calibri" panose="020F0502020204030204" pitchFamily="34" charset="0"/>
                <a:cs typeface="Arial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33CC"/>
                </a:solidFill>
                <a:latin typeface="Verdana" pitchFamily="34" charset="0"/>
                <a:cs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33CC"/>
                </a:solidFill>
                <a:latin typeface="Verdana" pitchFamily="34" charset="0"/>
                <a:cs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33CC"/>
                </a:solidFill>
                <a:latin typeface="Verdana" pitchFamily="34" charset="0"/>
                <a:cs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33CC"/>
                </a:solidFill>
                <a:latin typeface="Verdana" pitchFamily="34" charset="0"/>
                <a:cs typeface="Arial" charset="0"/>
              </a:defRPr>
            </a:lvl9pPr>
          </a:lstStyle>
          <a:p>
            <a:r>
              <a:rPr lang="en-US" sz="1800" kern="0" dirty="0" smtClean="0">
                <a:solidFill>
                  <a:srgbClr val="00269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ederal Deliverables: NTD Asset Inventory Reporting Categories</a:t>
            </a:r>
          </a:p>
        </p:txBody>
      </p:sp>
      <p:sp>
        <p:nvSpPr>
          <p:cNvPr id="16" name="Text Placeholder 2"/>
          <p:cNvSpPr>
            <a:spLocks noGrp="1"/>
          </p:cNvSpPr>
          <p:nvPr>
            <p:ph type="body" sz="quarter" idx="4294967295"/>
          </p:nvPr>
        </p:nvSpPr>
        <p:spPr>
          <a:xfrm>
            <a:off x="462684" y="381000"/>
            <a:ext cx="7309716" cy="228600"/>
          </a:xfrm>
          <a:prstGeom prst="rect">
            <a:avLst/>
          </a:prstGeom>
        </p:spPr>
        <p:txBody>
          <a:bodyPr/>
          <a:lstStyle/>
          <a:p>
            <a:pPr>
              <a:spcBef>
                <a:spcPct val="0"/>
              </a:spcBef>
              <a:buNone/>
            </a:pPr>
            <a:r>
              <a:rPr lang="en-US" sz="1100" dirty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rPr>
              <a:t>Transit Asset Management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3200399" y="1409492"/>
            <a:ext cx="4969565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/>
            <a:r>
              <a:rPr lang="en-US" sz="1400" b="1" dirty="0" smtClean="0">
                <a:solidFill>
                  <a:srgbClr val="00269E"/>
                </a:solidFill>
              </a:rPr>
              <a:t>Powe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Percentage of total value </a:t>
            </a:r>
            <a:r>
              <a:rPr lang="en-US" sz="1400" dirty="0" smtClean="0"/>
              <a:t>of third </a:t>
            </a:r>
            <a:r>
              <a:rPr lang="en-US" sz="1400" dirty="0"/>
              <a:t>rail or catenary in </a:t>
            </a:r>
            <a:r>
              <a:rPr lang="en-US" sz="1400" dirty="0" smtClean="0"/>
              <a:t>10-year age </a:t>
            </a:r>
            <a:r>
              <a:rPr lang="en-US" sz="1400" dirty="0"/>
              <a:t>buckets</a:t>
            </a:r>
          </a:p>
          <a:p>
            <a:pPr marL="342900" indent="-342900"/>
            <a:endParaRPr lang="en-US" b="1" dirty="0" smtClean="0">
              <a:latin typeface="+mj-lt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3200399" y="2892287"/>
            <a:ext cx="4601817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/>
            <a:r>
              <a:rPr lang="en-US" sz="1400" b="1" dirty="0" smtClean="0">
                <a:solidFill>
                  <a:srgbClr val="00269E"/>
                </a:solidFill>
                <a:latin typeface="+mj-lt"/>
              </a:rPr>
              <a:t>Revenue Vehicl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Detailed count of </a:t>
            </a:r>
            <a:r>
              <a:rPr lang="en-US" sz="1400" dirty="0" smtClean="0"/>
              <a:t>vehicles by </a:t>
            </a:r>
            <a:r>
              <a:rPr lang="en-US" sz="1400" dirty="0"/>
              <a:t>type, capacity, age, </a:t>
            </a:r>
            <a:r>
              <a:rPr lang="en-US" sz="1400" dirty="0" smtClean="0"/>
              <a:t>etc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U</a:t>
            </a:r>
            <a:r>
              <a:rPr lang="en-US" sz="1400" dirty="0" smtClean="0"/>
              <a:t>seful </a:t>
            </a:r>
            <a:r>
              <a:rPr lang="en-US" sz="1400" dirty="0"/>
              <a:t>life benchmark 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3200399" y="4357477"/>
            <a:ext cx="4388125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/>
            <a:r>
              <a:rPr lang="en-US" sz="1400" b="1" dirty="0" smtClean="0">
                <a:solidFill>
                  <a:srgbClr val="00269E"/>
                </a:solidFill>
                <a:latin typeface="+mj-lt"/>
              </a:rPr>
              <a:t>Non- Revenue Vehicl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Detailed count of vehicles by type, capacity, age, etc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Useful life benchmark</a:t>
            </a:r>
            <a:endParaRPr lang="en-US" sz="1400" b="1" dirty="0" smtClean="0">
              <a:latin typeface="+mj-lt"/>
            </a:endParaRP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26217" y="1415757"/>
            <a:ext cx="1995279" cy="1318335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26217" y="2819660"/>
            <a:ext cx="1995279" cy="1460638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/>
        </p:nvPicPr>
        <p:blipFill rotWithShape="1">
          <a:blip r:embed="rId5"/>
          <a:srcRect b="14674"/>
          <a:stretch/>
        </p:blipFill>
        <p:spPr>
          <a:xfrm>
            <a:off x="1026216" y="4391545"/>
            <a:ext cx="1995279" cy="14079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166912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PICTURE"/>
  <p:tag name="MEKKO" val="MekkoChart"/>
  <p:tag name="MEKKOEXCEL6" val="False"/>
  <p:tag name="MEKKOEXCEL7" val="False"/>
  <p:tag name="MEKKOEXCEL8" val="False"/>
  <p:tag name="MEKKOXML1" val="4HooU0THZk28POP9trq+pbTvvzd/gcV8t56cq85kb3NDTsUhojRA0EsgEHHMH7oYP1SYpn09ysXVivguJdhTvfyVMsBLTGvcX7WPTor/CmXfOtOhH41qEIghVTfcT6o7+LHxt2iMj4vD/tblS6qzJ/OHdSMGn80SAkSMQY+vPsTFBOXVu41tbu8+6L0VwS+f0YXQsvhOkAyC9Q3nWduexXP1SnER2NIGshevehlmtKd+FtrOgnYeeOJm2Vh5Ae+y+xKhASf/IvnVfgtmbX2MyuTiuvk7voq6Rh2cOkR96QxxeK5kgawCNtUErPBqWVpcRxY69QRqLYD0d/R3mcrF5ZRvjT9yV41bhvRjGKBaSy/m+yRT4frjCaxVaNKsjR/f1Ci1c8I//o14A6hkV/Ahy9HetNYWo059XhLhcsACwOVpCafS/IFD0uR0vAWLFyIUM6aAEu7CFhzTxULFIFHBcUkvz/C3WJ3lqHf5xkf5MvIrgCRY/QZC59BgzxwSxpecveb4Z7fyu70GTl803C8LKOyGneG8SAGpfUeG8WTp+d5apno3MIPTLE7KMQ9EsFFjSSMgMzKZME3yGQWBjFFq+K5RQO6jgOfolyWl07nDmyPLnzZXkljID715DP1QkKVGGBxtAPcMvXCINYfbJaxiZEuEmvozCcM+D78yCW1oGrDvzcCoi/iKNKwlNfiJrGiP2Wkv8vRA20li1rE20I55J6N+kzaqG/T4Tqbg7pBP1qvbkKy6QcLMq7p+Im/jISfubdkIrbLvoCnBp2UU8d18ME9B36SAu/nBq7uLY/5WAtn5fOEP5e1NXucBNp3eII85w+hQX2UDUVEhzDGT8Dykg1WTRgGSonSfZFQ1s3tfjsnmTz67295UGft4nhjFAAH+NCJj4gy+/o6Y1OuT07EDztA5Aa/KAfIeGjR0rj2KaXGj1gV/5e8bB5XkstaeOfZFMIZkWetP+FEoKHtHAfcRBO3Zze+canBqeIerfztf4hWZrWGaq0dnUJdSjcF+uuo9A5kHwK5FbbbIFEEYDTFaSxO89KA5YMKvwayObowmaY/RpVT7B/iiDfq2AUIrTlClahO01GFYawQj6vFBpSCYh+7CxHoa3pcm8UsH9hpdRx/A8RvFfWka6qQdWUjB/xIqy0wZFHzGLyeo5MKXRkblAUB9vFYt8xJ9BGEuAfgXHA7yvyWWamuFPhFCfctvBK6SnZSNh8ZOzzq6EDJco9UMX8Nyh3/b7CpYv43d/61qk0bm8DyV0nwxiGoe1m8DqKJneHRshFE7a26MWfy59pNOOGpjmxmTy4J0aJXWB4JlDfyEsQHvlAVArG9Rma9aSumVdSO97cL49ZBIlg7qQwcvhS0A4xDnAZapCfUJl+rRfxvvgSsI89Vbzo+Jv9A6R03uyG5VF0esZKY/FsXryYJwDGSQOVzkfhA0x6vOcysI8Z92jJwcdL2SUiGXPJPX0KDxCPU5kWTcszGXuycqMA/MA6Ao1n7/xR4r1m1K/5EbmPcr69mWePM944zsqps0T8WJcDT3SXnZZdZ3c6sZSv/9aQOP8HSN70+6Ubmt2FW8tmMlUw3URz67VKGgDOHFn9jgUh3bjVzDPua5wgfmv1/wAxrEG04V8F8MekjpA6GrXem3lkIfNSPzDzv2h6/OhhYYxLkXasxYMtuR2ARs8TOGXoRS1fs1dsXx1TsFdcx+RMwA8RhIGl56hpfhSQBERaK64Yapg7qOS/I9KL8WgVOsCSJ9Ty8PzeJfhG3EnI1HruQqHdXTJRPaaW7d3n0DtMuDh0ksG3gydSN+Fhc6JDFfd/Quoet/UEPtmqK1UhTG9HGSZPMAX3TIkivL+uUoh0fLor+dr+RBkN3tufL9O/uVklR75NaubomtyyZuKufQATwCmFdXpRKpvBFtpiXkkpAkgEK6d49aXDOQCWyzn+Tm87bT/lRPke29bvs3ez8LdR7vRxtzusDypJGdLO+HyEOHQ8AuPXFEPB+gTQUE4+OB9ZtbSu1jch5eY4M9ujzpBjLbtjficSQt4eTO1S0P/NExBEU9XcQRJ9xeceVnlXQri6fs/OKIuDA2rnjKnj3YYcOCpCB558CDG2iR2b3FPnBUVZ81hcVPnqTX8ALlNkpYisoSojqqtflBNErOVSgfFzNqbP2QJpjrDBBPX83szdMi0bznSSN0epFnfsZuE+avdj1985C3WoCK/ZqoYow8uYtLlByo6Xnj4EsJ0vNfo3lH0byniQzVU1xzMEDg2t+dps2zXCKOn5m4fOAVLW8SdnoByz6/nkqLPi6YRr3hSaHaCyTky5714LaMg8X8CL5QwTFYhRSJ7g5xpFwSErQ5C8rOv1mKUedUBunBYaTFwLVhkjPzPnOH3jvTe3BnrzJulW7sbtA5lfyVAQi0k2FcwAa1LJFivit+DYukqhLxKViitRbB/dGzlIbiz/rMtB5KPuICao3wPu4eq9BLNVzdZe1LqNvx6qYYXwF+MTZ7fB5qWG6u2ypCfstFovyCvPTzDd80q51QktaV2pjBDaAIpmDVohfoTo7j4oc4rSM8CpN1tV3GM/SQTFHoomzFaMc4susYmnsGlr5ezmfolvx4ckGpGPjSYBBKSmF12nMYtYTvaVdPrzO9MldfSH9PYYQZDU+fByb6ZlPNA/5DSaL8Lq0aLNA9YBOgaK42aWg4wFNz4AAH41JmiUWpvNeU9olphMhsNy4CulzETERD/Hs8R0SMp+T8+lRYWxA3Z3z3boj42Dxr/93KZWbXERd64/NTgbCKqBpKoTPDNFBkSDzYwa7wW9YHZSH1PlHAxzCBMKw4gED47CL9hC26OwUJG+IdMQ129qSJ71OkWxtbQf2cuwH/WplYXPvII9f/UXecT9JYQO26dzNbyr8vfjmGalrVPoZwBWiokCDdA3mKdb0WzLYTLzTGKMdCsB9EyE4kUf6z4wD5rYGle55yTNtJuKDdLJTqwi3aSImP/wcO+DM1VemTye/fp3PeDwnEDHsgfYJd7QFIFEBXIZRYj9T2vecLB1H1+1PZzDCuAXlRjag5o7aOxEoJxjydiqsBS0hASbpyItjro+xO5M5kXwxsHr+esJt1faapET9bEin9ZB5nutGCYQUPldafKbD1a+kr0OUYJ5vFRksyGqxsOnDmRS4DPIkN6cD41sceEsc//sj/L5EPw8YDjcm5qbIJieANSrxe7XIcMTT0ZnDNi5HfbgygiztA/7lWMmFVO8FzinbZkW/VeysXcHKJYcYm9MG6RbnCds/QQZHvPKLRpSOH1SqbwYghyES4CYQQ54temXhmCfgLCaiNomkuToWL7VPt2nJbwCkLAGAViKkTrZQwHFR1uqaWfxzCtpurLw5RwdHHUKmdLLKLEvNGSFI097U4D1Hp1IruR7BxPV/arm0/hMoQ3HPksmr5+jQ3oGcgyCUI9/VIDV5rXIkEfc5HXkiB3FNxi8M3V99uaf9CbswhhvW6n7vVL0peNenohyZRVUtIy08oCe8qAWIUoqnrO1B/tN8Tb9dABfRxmQ1KKUSiaTDox6Ej40/2plhDhiaosRXhoOwAah9bPMm13EjVxrVkN1mP6s48JbY8ZykWKxpdB32dEr6Wm6JmIAp111LQwHwZ1vKn3HGdEA5kDGPHn3rAz0TVvoN3QytGMn1r7+aR7hxtOjyeeWk4KTIuJmWNYvc6V9/MfXgv6QxIVLDIJw63VKmhxdgXu9Gr0HcU/FuwTXO5VLwsC/UtTan81Q8GQ/wX1YqovGytUK3IrpTDOsAv7hByNdsgLEWn/+mbVIIO3fTWEC0+X5Ht85NR34DIMHztHSbWxGxTu0zcD0+EoDcpA3rs2ITo4bMvx0hpHd9uspnDfT4VCsyqO+8dlr0vyos4kOnkiXJnsqjIlWgTAV8QDthZHJdvNDyZFNpScsy8xWnUtjBOdwuXeizzf6ZJpQjPdd7O7rUUsR0T61KhLKc0EewM/KZ9X4LP7Bf3H+hWwycChseOn9Ewm5X6be/iCclNgueBNRWANmQX+oUbChfV5sD4gdDfAaPyQxxAcX83M+4oWaxFJXCJlzvRBefQ0M258KagLy3+CvR5X7q4Zj943gH28D2kmkmwnAxnTon/z+ij8isWF4ynSnlC1OlJCp/qdMVeFqKGD2Lxq3d2wvFirL20+U9okfm4qddTLPAvw3HYUejJfSLjDqewV7WMljJSFiwT6+s+wsZYlSe7BIuqE+vHFKNJEPX5LpI7XqR7mV0SIw4BO4E2Zp0EwerMvmFk83oElxg6IQpV2S9FXHFkPHOmXolHD6UsY8mj4xbS7jaOv8b/u9ElS/LCmaq6FUUr/ejE4GdYD6GJKrNUvFgvIzly2kbk1U1WTANfKN2xV0BLVRNRi+OZKBjSiM0XvFVueF9kc3F2F5eAtVGkazNGZHOrnj60U/rgxgBZJpGvvpiUjUNKZpopbzj7oekfr8h3kGXSGEYXuaAoWlAyd9NwXas5f4HXMN9b+Vs/vEvylzBpqQznkXnlWh7RVPP/kYdMNomWqebKYrRFycB0PCtxVcRQ3D3e44PaLku+Mu7uscVBxy9Aaz+8nhA5KcSctKnu3P2NP/Hz2DGwPkupiX//ChOv1hfkh1OCiZXSSN7CJRpXuv1TeHMZkG7TUCKvARuZto9DQKimtDDvRwJiYLxTglQvqPUz2oyBZ8UVYEcDz4BLOiHrHLP1TegxbF8y1twgJvVlZE3erxkXDb8vibdp4ghQv0bLjIEh1aFqV6KlWngnU1chghOChp/RD0zSYynzP3vhFDso007k525nFfr+h1wP90s/theWsk8KBxOLS7BI2ncWiGJxWISlxbP/e2jnktvzsVzQ4HywemxTPoBLbRiujpCDYj5mHODxNIsGcwCwrOWc6egj4Fhm6cvHjmPq+C55+RPbJM0pzx1iIyRHsEunfgcJHQ+Pg3IgrlQUb+Ij2nkJAeXTjTkyQa6T8QF9rqzfNTrxdOLMktv61bAonkiLFL5PM77gX01rPWZW2fOxD82JJnKdoMhegKDgtqjNWiVIA5dEkKwrkaRpGCcHhORcE31KgcbWu6MZui0zm/K1cd1v5aLF37x1PVCVLNiGtHwrfByNSAUDLll9UgDpQ+UCYZvDB89hvh0Fz+I5eWJlcojwB/wouuoT1zMH9HY+upwdSwMhKuKBnRVwHLNv6seDdj3lwNlxV+E3+M5uBOELnlgC+7w3bpgXKXt1BvsZY4NhhWzpchRWfhFN/qR6zDPmNOYjmeiEe/oP/oQYDNH+pvLtc11FYdAwBLgoswxMnPMvu4Dhm5SCm380R0klidOCEo5Zr/gHmLzwqIrD+jioK0/A267fddYThlj+mkoq2pGgW2Ws3UClhgg3jxcx6OT1wMO7RSFsinSzH0+BpqRadC1xqd4WgGX29eqD5ZvMgRvsp32Z3eP1R1uU4tTerDHg1aWsPJts4Zw7WCQpbAE87gnICGGxvmPwpOpBpm4TyPTbHzHKG9FWxnScXsETWX5hlaBNEP78lMlqEdrQQsZ4WXCUJYUbWM9fcRtqeOJQQ+OA5CE+YUwdz2axMaE2CMQnDKA2UHQ75PVH+I94z+lVybRzDS9Dr7NMvn/N2vJ9o5g/QUpT3jf82u04WnHtaQm1vEJc8IbutHQfyJDPPn9rJG+r/l9cRkwcrUcQXMz5fiAFuch3fADsZ+uuvoyVGsI7lvOgQbqrs5JMzGrxyvZDuy/Lt/Zz0C2lCvm1sTt1OcFmb1gB0E2vEh9RS6Fuq0p/MyTtlZHq/44qbrAXwqdAQpqg20B6KpLXnkK9NSnkj4bPJGmXvvvWv4PJICJ6D50TbX0iVgqtFunEH37oHES5NrHGzAFhIkGxjgD+Ubz4jhr4UE+0SPE7BEsVvl0gCOks/Ws3Z2wvI3IFxmYgFW0kwT81FTAOKTz2AmO7+PBMfJN2AN2pujkt5VgLWEWeTDjI6VAOyGN1w1E0Ksr/6Fb++mk6uS64uDFu4Z5v7B57p/8xhE1bA3jsuvUaeb6v26VhT0cXfVkp973muNUU0rvWbvCRaBZMkOWtH/Wv+SHVkJfq2+7JXf4Q92qJJzVU2SK0ZjHUGxsVjXNh80vPGsqlGBH5c9DffuXpnK4k0X+2HM7g4Xjs1e8f+3bl37XFuHHPANwGsxDI9811MjTOkTj+KCOimrb0vF21lGz28EPlGsliPnvOaEjQyjovD+WutsG4xpFPU8AU9EKtALpLfuy+IWIABnu/mGTFU4HjGyi5J8WYovgBNeca0moIX00Sw4RVysTBr1E2IwoRFL5tEAXs1wA6w9kHXKDkeECmoof8Z40TdYnb6PHOl2omjFQz3uVX4Qh/WmOvDT0z5lBqR/WTMDoN5mrx7E10QOUkKXq52j+Z4p4mjRKfET9x7JZgL27PE9BAbMDDcUXk71/MhX6z7BoaNhv2NMG1S0qAzxc9T7CTm1PIr7HUzFjx5diqeDNjpljOomu6QofUcxQR+ZTjs9axGrfNoDzWJtvu1VF5AvD6Hg3gl1jLg+1fnhN5nYOp4bbHi7IIymhmyKCJaJ8vXiUmQzWcE4hAfQPUtirCmDMaXAVyaZBYpCj4FuJyqIBAG703AeJ3U7md4HEWjhSixinVzpzOea5nE/FGbxBpk3WP3iE0PqqUAO3k7t4R8yJ8vYBVLbZpAvVlEDNraCIos5BPZw9inikokQfTJUSof6AvK0mzGrBbLiygF6peBdCeUON+12BdA/+I3adiYaDb62UZ4P6IWkoQNtzdt44kD6nRjZ1AFKDeHrgUdB1t/4TSodbSMa6pdkWw8/89vP8keUMir1jZzDPhz0krMolns2t9112skmcAGMKB8tacF6wViheQR4+soX/3ExU+CuJaad5Qji9Y/lb/+oGbBSXTRt9WqGB2RDP8u+T2Hh5emoLySJQYLYCi+3+NwhllUhEkjfgbXfsIWKQJEaKcyq5TpfgSydkqyfHUPdhFe2RQ9U+sV+/fd4EZgSqkxJImNFwbdWswX5q3MIXrhOdRSS4ZlW7wUMsPYHYcs5hw+vPlhkAx/s+07BVhowR/QZWXFTgwn1KvRIeYo+0+TNnhYx5McszJfK2A65rTG++EL0egutVYu6Rd0dM4CBo478HIFLNV7nZXGlaWToQjQr5wvsAaXRzu3733sc62jnMvbhP/bZlc/IEDNu1VcADdc30cDARpKii1KcGdMhpSKg/LoTe7Jo7bB55/26RuGUZ0c4UO0wx038pEjhrCBoSdbLPQXI6g3kHiTzbwV1dFWwoX6GGJxdNkDEZZe2YvE8qEduySOIwOO8zSPTlKeiqJZvSq26sn8qlR1UHztKE0RAmbecCbVarp/O55NNHw2TRP/ZKFtxxy+hdroHH5SCNJpLSiYiVuKzE+HLS3YDbemev2V8faydVS9BrjVZGwJO55jfaBsdkmbsBn6PkdguhqWYmULmjrHoR4l0626cPy5yMkPs6rS6boDonwzdD0wAvvjajQfTz/kUr85DxuMEqUN/kPVEpXt2P0j4TVc6o7YUDXSfTLTI3HEprUgHfX2HziJfF53R5+MPKbheMFWOwPd6aEcfnKavdbev2I7+7bk4tS7NFxBPq3MlupP1ZMofpe6/bCDMAneS62aPYa96Wr6rB554b+ztZzxSiLrOHQLfpTJLs9yiT6UzGEj/yyTezTXkS0MMKBkSOmesqAYlwnY78FrtOaXexC9xS6ohoZC3K38LUopwFCs6mzvIIlYPZyOOvuyiB0I9YVqrFxRz/4KUtEPWqPm8MkKG78xVT8R1SKgXHzsMS5duHLXYr3ZVDmPD9HxA7n/pwN4sR/viXktu0jQjwEGtQF4sl9ZYKTPkgcHfqZiXrdRIOAJhZeBJncHf8OoFijrczyuLPPhf12TduWTYKKZZS8/nbfH4Guc5jCszx2yyysCMuOL5y44Mub0o2EAcD7+RiS2hMmRL97VOJLXY6Jr28r4kSbva6WulQt93HughyB6Q7jySWERB6M/4JFCoBoMNb8GWd7mtVYoYKwstTosKXPHEMwmvU7NZ/KOQIcUUJKjqfwmD9u1gdUuudHVZ32VY+iEM/v4KdelAKCovtqXbiYp5guiUAwlR5kgAxlSygY6OtRRZzi+gTErXjUqvFhJYtEDDx2GqI8ckzpUQaDgTb/V0MVmZowj1HP4tMOeIOfbAsARLADMbD/j+UwMsIQWtrv5BkysDwkGhNEiX+jKWMt3Pc6QpxIpHKCS9Ep/npAL3mkt+V+x9SFdZfC/x0cIUUB0aRdK9rcl+APi7tv/qMWD3jnxarv046AXAAT5EjtLu58omE9/odoz7szV4/qKUKNzfVJyg3bIggnMW0OzlwFVVhuUxM+yhRwnnImMoh2+WLCK3JmkXHuJUIgAKlMkjIeegG444R+pXkjNMNTJsLAUIGb9jJJcUYlfFVzBlqwDIBRHQnOaJfr6VRYH0Uze4XtTCOX0io43kl+76vHWdSpmlyyuOBk4G+Vj+QWNoqXPmJcY0tOCEkNCA+tD3JCO5FzTDgb61XK3SXTIy3NBEyot/3m4fqRn8mZk5SR+cQAh0O7ERFlXUtPfJxhQPr9mTv3IJP4mRMAKJvhc4gaJwwu2YwmDPPDAx1DSwtFTZpNAPruKt8yTePo81OHd86XIyLyb0MPttIKE5Bm8p1ljcwwKS/EDCnReZ3y0FfxIj5cMRvmnHPemLKS2S+Nw8fNEiB33XKrLeMgdO17znhJfjAM37rtYTK3/XC8iQsiBbgcpzyQFac1MO4Oi1H/FvmmwLZWT+ufZNW8tCeDJQJR/VxSyAHjZbe13PJ1Qi8TmNuACKj7sFJfZDEHJFA/NHUZhJbfTRgb3CJeZtI6MofqEkEhCUHDBk9BDwa4iI0Ygcd/FQT9rOjimuDBV4asugeHkSW0d6SG/4XPptHmuL+jvgQIPZQyurnUxS4fzHdsxyg56ioj931befyzmkchSth7Ftg/oVTJv+G8Xrbn+T6wUO40qBMTsK41ec48sq2SS8XyQl8MM12kwIMiGpa60LVtjCZ/H/t/vLepyueH0s9JaAfa6enene0RYnJ+sgvMsFgSxBdtzmA+Fc/saxmLb9A9aP4la3oRi1ykv/tb8nhtXzYbNkej6JompnGKSsAXjeDHEF/73tVslUwPFRhq4BsYYQimGhgymktyvpZPRGviQbqxcIVbtAOFbkXR+Y9sYKMzyVF8bSg73JdQ8I2JCKOGegUXMg7oNw8mdv3ToO7++BoBejxjVPt1cPp+cP4pcaEDq9VrYhsRj+DtjMrEd3n6unh0+mnu8zAMjkkY3IwREpf05eCdqmHsslJ1MP55G5210ukyBCo66FeLFkMn9HeshqMbAqS462xUxoGBdElcVd3RarxokE6dw+SZrER8U7Osm/ra+W2s5SaGg9Q0zczlq8r5wVMGUXNOrWbUvCe0Jrdmwa8kc5JFVLX2SPFaYq2StnUMCl4G9aDGRojGLAUZi6kQi493dyaF4/nMRtiEXpkUEwOqIFBExc/j6wTU367mGsUiX8iz1HwhGCyAV2V6b2d70rkzSCOimn7wM6ri6hdSiMARdCKMDEl+vEFost0LwiUnV9JhYjuUJsEdSN6xj27RxOYke6ZUP/lIjbqtsDWPGfaGVeCGHWW7ubqBBGu1sl78CQhutBGUasqwx5k0pE7FPqLomhcn5vD2SQFCgYPyecPKysZaimfvXYtOMNLLd6eWm3HIdXLhLyWcNasnKx9Qe0l3DOO6/cQxbUd+AoQErHYlhA+LgJxEKncJwkcQ0xqIiWsNDgLBJjrHt+Onp+enjKxfElmbmcX3TB+P/Mhv6Hge84J8lgOVM07+XpgH7zlNawJcS3re18IZBfgnPi+tu2uhj9JyAAVF6rvCetntaJHjRSP+jEzA7sfOjENvKHp/GXpHLToItOUdBBsCzY7fSCYMk3X8W/l5oCoIyW5pOOTcFwyQzFBKcLTpTNmTvbNSVHzqpYcijCU0XRZDtFq5g+Wbpz2tWVoyZf6+PynpDYdQV9zHzE7eH20cgyXtm/YIB4+yq1Rl4M2lUa/cFjgh7iNgKBh9QBg5DFmj6V1VoaBecQP7veZi+9Myw2Z4ujmHbpowNdKCh014nvPzLJhrfCbUWeggOQCXW31VmZBTIPQCpVb/uCCQPR5agqvxJ3YP+esasQFVt12gqFCZPmPd153ROzOfsoIOXH84Psd29YeDMPBNJ5GyOTWuz0dDIoNswFdgnX/laLIGpeUiaH8231AuotXX0GttyVVQRrsuQBEegZXIOpYFs/aBvbab4RqrjgozCUUlv4voS6K+M8hXYj05nUsdG3gmPiw4sv6VmJeStYrOUJew5nnQv5g0rnC+NO402khV5IPCVUpd4ASpDOWNYmCy46uW6gGo3+qA3u+PoWqdRL3GyvjRLufVIEn18HeniY+wK+Lhn0EjC0HYpOwz6b4+xRJmu5uJGkaA4c+QEkk/9/ZZ4l3CBVNYYAueu+SsvtyddQHt0eukefttxloX6FV+msqQfNvyiiu6HlsaCfNuBr5JBUmncpE6amSL6CQuIr2Epw+KLy2DOUIEHO/du/56R0Pg8mlpqovCloGbAzrvLYhmS/+uVkf2Wi4KzbOfwGg+BFVOLDojyWRmqkxYmmIAcW8qFyCxw6xTKSpQKA81NyNQKp4z7Exvex8rDI9VJfimDbs7uqvnaCQh3S0Flp49B9NU2x1J8qi8n6OfeMGUAd7PqpWcWYR7HefVBZM+9ZwEkimKrmSkCgJh9f9rbbJKKllmQ8xUrj7/ix28Es1dLkyPHa3Y2Sc0ZGeWkIKzRnAARGd43hqkGHKCQ8tHU5TOKmnhC/WysffBnKdJiR+tWVumtV0GRUeEjnl4k0FRBCci6zP/ADo3RbdQ5hfPuJ5qN82wUyvQdJ+5/zHxdyOiBrXO3nqRFsSZYP4reiGozLzQnUbXqIGTj1mYpHFPoa/ykTIh7146gydT5S+yeSr0PDGRXDr4ubBvzUdFHVWJ0Qsw8D6NZvyt9iKlV8XlznULHB15X+H9wap2UZYAh6SD5KysmeVpq2QN6lWDN0a6a/vDX83SZ+hEMxi78XC6g6P+U0vAV3CEMZT4X+e9CzEl3n43QY3bipHvbdgxscYOkBbcIzPZgRCsjviItKtIq4KRsK7gs3eTee0yrOWzzvDufUEB/jSytF6+VWeQwZQTpxZkjpFCO8ublnHNGVc16Hjgev9YFK6TnJf2wFY1Fn/1ARLDd0iLAWM2q202Qlv0lTaY6GYY8sKH8dGdRwOuBpgFzT485l8FDJbjtX5F81fupUjkIFImGTCkAmJjHG1MFHvx+MLOl7ZTzY26S6hazsx5dmXDcuLLQTqLJI1Ysz2acLNhPBP/uskBdSfDmhyXA2xWyIOFPS4i0ocxok+WWjJXvSt+7tlFcqCMY9FhOT9smV54oIRoCmFrFDeV0Sr1m6XJeBWNoU+UGTmwAbjG3ImECL02rOckoCQyYONgKZv/5qAgUWlQGdb+dIkwfra+Ff8j8Y+wynl2JP0rR3mic9npje0NCPdAdXv3Yxd3Zk+POAtyFmLwbp8KfXP+pRq852JCURNcSk3dh0gexPE9JCb4RCWgR+/euqX3tCGhPzX7MrQMq3CdoohBqj64DD3+UvwsxM5bd00zb2dwPWPAMpk0Tfw53JyOZOGVLVqUNpexUmSp+rWoIGrGUFT+GSik4PNKbIV5FVpEPMZ8/nZGkh1Y/51rrW7JwJ4gQKpryb/7M+upOtmnrhAPzJKzV0RypU5c9pKSVhPOBu4GP9PeE4kFm7x87GqLq6P9neuZZzgADzgyunyFwRDHhKVie7kKDU1VTzmCBYo8lC5d6VF/ZCfnnNe9Z2zxFEyrkjHQ4JK+cXig4nU82mQin/2BoPcT7GNbvnDpdWsETg8wrMSaLoy4ySQwCtXMIPaCnItNTc6EXF4dIWGiS3KZFk3wcWgZ0RR2iIdzYk9PZ7wT6D4Xgts52nX7UdjBB7uqjC6yWL4tO+doFAlD4qAwznnxao7CHGc3EYLT29tgEJ29N1WtDWiexEbB4JEWLudhH23wxSXy7wDyj6hlI/tr5Uh1T+GfmWhkuNAxB8PWf9xRNAKY+X906J7a1rJJ+xu0iBG0VTIw7ckmzpiF2R610JoIKccTiIX2UpJPoUEbAGqC36vxMfZaGj6lUMLGLXhvldITPd93033Si87NQ97FlXnEhO+KiPr7dZ8coJzXUccAET9nPLEqzE35X9CoplPhrIF3RMyqijGdA7NX4AsUv27AOs3yj9sTnXXVlNKRN5B55GGWj17JgKfAf1FhWopYfPd0YOPgRm6Fayickh79Sfy5ygFkfwYO9gca0kigL/cdgG3EMsrtU2wChN52cu2LqB7x52caLykM9cyfpweLzPSz637xIR1FZVSDN/0B6kUiXLE2IhzmyAq2kRpnsp5Xu8sTaELAEgnnSEXqs9E9I2KVZZYy2IByipRHJAEjUMX93bxfLsiCmZQgaQt2QAFLC+CeBOSJhbRNimv/1v1sMfUcsssTsRZBfchaXFJhDYjF139Bxf3lp5ZTKgCNgbsR/xqxPTduPQm9KrLSLuJWcVN7iekVDudAnJa9s4eO+vJN1BFY34GJZf+WI/kxm1CAi5A5oH7Bowf6ayw1/CmUSl14X/D2/x4rD3FIKAaSh3U87Jj/LcAvBWhDPZY9f7Kh2c5hWFilTWRd2p7q3Shy0OHrURxRU7+suo1GCnusS2ydMwry7CWoMuEMokaScFwD3yjfUm9OZ/q7ctyEEfE2g82AdG1olHgwbZVo5nh+NxIiksGjFlglmUCFKIpCO2A34UbxWl4iVVkHCUhtZUWKGWsNa8RSpL03jsHYFQD6IlFczUThUxESEeo8/eVwnFHP3zP5cVymIGh7LZMbidL+Tkj1PIYkPUEkpxT1Fc5ggVbR/z4L1D83FLlXZScjk4PDUvV5B0TdTV1mul41PgvNcOnjs9KVkryX8meNMutEcYzK/KLxJC8KRXPXzoszDADk/8MQP39Nbg1H5iqtZA0EH6dS2QtUlHCLSXOJay4HuycLslzYmoAW05CTt6XJ9Jvve4SKXSmdBQWHoFri9hP4BKWkS8l5kzPFVFx67n3X7ThA0cVLvu1KxuOC01aqDOMTF9ZJFdULd1rn28iwWLpgOgRSR632kMiieiYg//LvkI3iCyLJKGcXH4W8jmMyW2z4FQgW/xKmLLneNRKkdE6hSk3hx1dIOPRJ6LewjL9QhhQo4+khacf8LzxQCyJG70camiJWjEt821OFgt9bO5KKzyL7dFjQ8wLhepM8G3VZ3KF+Byg0TC1+l7tFPwn18Rp2fuwS7sQ5+gSyY2IptanlYoaTURPFKpa8PfzjbKxhmuAi4MyBGPUqY09UNQeCt+76aRGexm0/u1Tamq98MzyphbQawYCrecuuCQ9d4Rz9WFDWI2e8SKUbTUDC8CX3TdvA0MxkZGTTJPQ4C52XvZA4ZDsbuOYTeVsOP1yWo4GW35Q0GiMtZlBzVSF/+D+bGHG17S0HEkDZ+tRtEvWV1WfRAw+3HfbtRfAFviTtdCWxBl0BzawXqvKcprc6ttEXcC2PJY24NLT3iZXV7hpGupugS/nd2B5t8U01uYuht2j4RQ6Ec/TPN9nyTlSTzLFmN/Cbl1K3zsNbsdKdwbeStZudG+HdwXILDH5GbXMtKxvHH1XBq+6nQbQaAtAcZNhfgNlpPlTZf983NSHshWSDbvTrre7+qv8iz3uUxCCju+SHRYhrXQDo5+aO7mFz8bRl1kDa11f0gkUKp/LRFX1xlunq/Zi+lklPNgtcVdHNsCwThe76a7LQZ7PpNA0YBAM1bUcyck8upolqqFrohOEDkU/VYWjybT1Aa/c0DFARV6VD48czVUkPT/pFS6G3ZrToawU4oAALldUVQ/4TttqtoRPXIeA7PTH+zeMQybCv6aZ+DVk2buxCNB2I0MgCh3wJYgtUNsTorKoGA+/ojNA5OxcflXEV8h4ft90foXc+2qD9qRAqTLRAOvc1tU3zovzaBpoxVByg19wn8yP8G57UFCgJTDNCD7piszCDCN//uI1QfVILCOTs7kcb2u2S48YS/3s5X7FZGBwPiAT5BYb6ay9VrpDMotzpskdUOI/DlHrzZupORj5N3bmdieDHIj9IuW6FplEeA6s1sxoGIXM5oMc4KFdR8TW+2croig1YjULw6xlc/B4W/kQygC/Ay/mGeK3cuzTNpYwkiv2F9aSjTIjnJRjDvoDQ/ksecMrVLXIN6nAN2mCrmXLKpUPyvCxwbQBQ85wDkv81+5SQXHLRzHhAeayEi39tzbieB4IBlzlTn5MgrjU/FK+0o5L4WT78fbZbspdxa+A+ajSuEixlwRBiBRkOSRLH1mWPMdaOF8DXEYNYIEiMkfcc0KSsyzNg8exAD49DX9wS0naih/6zOqEwxi+imTnXfeQuWk8A+zBd0jG5hwatRXMP0dq4LBsLKGh5ZOYMhQgcjm4XPwts0JwHp/deY9LYnD0zXpsAgmS8zaqTleq/j5YELuhCKFmHQV/5bieD4VfcTj9jIqsKPMHPF9QXzfSM20/d+96y0uQ1PtL5hkJKDnwfInMQzYs/4y9KOb+XNCQZS1+8ja144a7/8SO16M6m/msOeq0F53XL8FG0/2FLSnImYG5Whau/0Ft0q+OhlSsbB8I2w2KNvVZsMyAg6MVh194whjoqsWluTtxRpFvZMe1ov4C+/9WWyqBywAmCd91UiEyJh1W/lCiPSUYxe2Q+alxGXKRI2UPJluKg3zBrOPefEuFjS+4SVr2NgGSORSxVnpeGVHmDTfCb+zK/5vqGn/tg+I8fe9onqJnBvUkeCP7yU4+rze65gRspo9JQqFQNoFuei6ZUcJ0aVF4Tg/gxzYYHxNrBSBQ2d4ihfaTLO2CJsZKGs/CGJnFRPrP72s/Qr+N1wqNMLq58nCckDcxwgRdZp0oXGFYT+RK5y+aQXLlrUsRRnJsJhJ99aXov5xfkPTzY9RTcaXtQ7NZjVlZirlB5fk1GplhcPNVbJBnV9QfnuKSRXgPTb3C8XUPM/7JM/KI7ROnCkifXK6OcZvt0LT8gd1+xHGqIGNpR2JecR0XBvEa52dGnmmw5Vagefoiv0wT/gI7/XbPS6aI9mvdbtPATDPPyeGrWTaRpFynmBX2+hUCNkgnC6Ci5MNtYYUffyIzXL4UCWkTnadn7csJnpo3uurCWLkO5J73sb4hNXgLbJXc0S65ev/yJqROHjyz/ICP+apsKDBM1FyjxBVoDGnpXNZanAtUecfYAQ7hAuaHw1g5feT6TUGt3F4SHdnoB7urWEECFBNlbZZRt+bu+yFy+ZmG7TZpwNDEt6Y/v4YEmiXpFe0MK5V2JkuusHldJAESaYErKT33x8T8/DhnCRMaap2tC5flCqeSN6bh3+FfdkNG2n4MrEh95EaQdye4lX4I8X6Y281sOMcx4zwJrpJj/JrYSZaU3f6q5xmEuQCcOnKmvTlFjW5zYl79L8Kd3/lEfRSReRPUCdo9Y0ooMV+/EmqiehTuODysOu3Fqa0NoLOPmD9F+Fb8O2+eQj+piMh56P2qIlDB69qkz0Rmbm5bWeAKdyXQeJ5p7Nr07MNpxh9GgIDZJ9zyK/FMNCHYIu1GrhCG/JIGPmV+cZX0VrahX3DTrqSkkJ+RuY8AK+4kLRXSf2GDIMI2GTBFqPgYF8HX2oicGsVmemLwcGk0D4JCH77VGg+N8F9J6YpjKajMcDywbrg+tXdRA764XJkFeqXRwb3dhkocM9MI1LHrxsTYAh89wrP8cbpHSqEc/MvM3X8lQK1rqjG+kkCiS63LZr7LHB8GQvnwpqwzgV/7UqDr75pZlxhDwjGxliieDF4yVLAIohgXh+AHiJGXOFq/YqdRIuqwj3FA5cGo5uWop42a8xPhBXToNnp0FuDhUjPAXA+t4BWAFqt6RTGelUOFrIOggKL24/lP/qRU6ktmrjmj9/g187sQ47BYuf5ZOIS4yetXojmxVxftG/nl1hqFOLH7WobcplhWcJY0VOBEGQkWWu8W8Bd3gwix1JsFlICZLKgipSdLtwPPG1BPSimpfqOFtuiimdIYS/eS1+ChtOFrZW01LWbHDgNpHOyVHLWroYcUsFo2AO9MmBj5mj99C3kpb1ubDJq+fMClhu0/qghJONCe/TT0RdpXEvArBAtN2WPw6g0LXdUDFNKrTLV0XSTu088SH/JJCglw2zrGMrskELmw0dG/Kx122rOR8qbrseSM/kYVu5vZqY5w3HK5xllY/DWwM8/enCpogbt97N8WoQ24XjIrxe6dxbUYHPKw9Uek7jGGWVV26yCRtGaVgD6OjZKo+y5SrozKYH/kq0qpXpQrqLtv2cEiSLdRA51ptB/xvTnbeSlhOkZwsSOWgJHyxEOJjGx/9fqIM+2w9fIrOVfGhXezEWJaIDUQkeaVpNxUU8d6Gf3zYTn4mL7+1cB/Cdipx9bL7Hhn/wUtabAVgI1QrpKqQwFkgVzi7tINfbbrPuqj3yW5Zu/LEWqgg2N0qMuj0ZuogEBdkeKLXT6vva22B8fw7qP4czdBplC6wkNDtcXwUejHeUU4Ai/4id2EyfPx93s5Zp2vL6Ol0ObA9xyRaLJ68o9ijNWuAx3syQa3JTsfWItg25fGDGv6LIsgzIJCSs10dsfQsfiXQbTwA7fGOX4h29TMmlrnhfbN/AjINMM36Wt4Tj488vlHtNfTorJZA47g4Lmd+D0S6r6mR3cIhRBKglTZ4HbjxHx1reyufh1gtfajDEU/pOUjcylRxg9R94HU="/>
  <p:tag name="MEKKOXMLTAGS" val="1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PICTURE"/>
  <p:tag name="MEKKO" val="MekkoChart"/>
  <p:tag name="MEKKOEXCEL6" val="False"/>
  <p:tag name="MEKKOEXCEL7" val="False"/>
  <p:tag name="MEKKOEXCEL8" val="False"/>
  <p:tag name="MEKKOXML1" val="4HooU0THZk28POP9trq+pbTvvzd/gcV8t56cq85kb3NDTsUhojRA0EsgEHHMH7oYP1SYpn09ysXVivguJdhTvfyVMsBLTGvcX7WPTor/CmXfOtOhH41qEIghVTfcT6o7+LHxt2iMj4vD/tblS6qzJ/gMcPCGrbvVDHAA21UQtxjiIUqba8bxYpIy0ufKDgD5XDCDe+RVNlFbJpcVRItRb19Hi89qJjTD9ipKC/dBBdkNW3cqqxFriNY2B7W3+bXVxpcBJ3WxE9+VOtV8Tm585I32tmAWsi3qBeXb5MtO78ZlEar+3ePvZm/eKkNj3/PmkC7+73A7e2tVVjZSW+pEyY6MjjSb/fYuKUlYdpc2J851EWCgPDEiElWg1WnTjQz/WMaup5Ox8HzXdYPaLQY02tr4lIE0usFqpPEw0kAWDWcYjok4eOt9EVw073UTlngHofjai/ToWfbOdqm9oJ+6oBsKJmgHTVcOIle7J4AIEpuHvG496en+iGEM42uyGNLEqbn/rPWm0HFHWjW0Im8qDo6T8JJ9MWVWo4V8z3dk3rdbfoA2HYq2DBgvzZkfLx9gCBRe86WwP4H9AdJdrwdxn6062SwJZOuuDM7FKpom23pQmAMT8fVEQMZ5nfNHKlsxO32tA24iC9KE2fUQHr43WCNmPQ3UrwI9v6UFRZaJjaHxr01WyN84IaIGAZGAhvotQ+cGVocnPcLjdKmDHgpA9rhuVpmOTiCpcCNFBvgcsG6Ib4ANMZsQKVZ47CYExh19qoxwWNSPo1YIIDHI4I/ASIu4EEwTMbXhFzEDEOT/VhWr8+8bc5m1iTZwyQi5V/Q0v809OEI0PpTK6Uuu9K8tNZg70ktmBWitAuifLIZ850dgWGJyZTfWMALVQrZ5+lR8M1rpcrfSIx7r9r0Ys44VTE8UZ5z9yZ09DkafpeluiUVTt4lvCS72fjk/07CCQZbw7KhJer5LbcO2JTm7+8AeLJIWFJwSuGmJhnSbw5gd0lgL3v3PtOf+wqGOqxi0mmw3xjqeVj4h/QoWtn+hs7tvBTKFZShDE0AxDgwvuiebdAdMXcoRUNmiQuj4wt0IidIqb+d+4frMlqBTVajvW0HsPpdnb770vb4xXDVM630EeVrdqW4bYdm2x0q3+b+qP9elSlWXmMac7baQq5esLVccYY2dyOezz8sY1c2eaieGhhZIjuJabUs12zoBg8lSki7lMrP1U3ni1i0Xhltvz0jYyeXyaT0U/eajGr+Om7kiWBVU8FWYalkdu3nR9AF4X52WIX0zBhqu0Hb+EAtTPmJJhaXu+SlQ2Gyydsbjiu7vEgq2pT58ItcjA7npZg0xrxNqH9W9B4vHm1vuNQ7LrUn3Fml59hn7JKZaXQ7f7RhXyN2+VqNdpe5WEnANPQ0FnZWqjkTBx2e99WUypKj5Uj9UAl/4deao8gsRReE+dZZlkStvIBYuKYzsJ/dF6AVekHviq/NWXCuKzEHYGkdNbGKoMhHmMNTBYESwwBj7QrbK93p90Pfg/uCHGzz7neKbB9o0KfF9/ZN3rIGL7JFsXZ7IhuzjXEBgZF7BeaSt3HzA9eiitSEFqA3T2a0w8SS/kilaY6BliDzvwvws8bwOaAZIYAC/uF0b/11p1J8xWKYxZMS11UdRFFVdqLE3JsVTZeTiXY7iQNBdetg+dR3gV76TI89YUcg+v3OVuVRDZ4WDRhgqPnRXNleJPUPMNdJ0/YJG17E1qWwQoIjUNzbZsSAeZ5epgbynL/bhID5s7RbEic+13zifMCGAHklvqgGzAt3+Z5Rus+UutYvG27RJ26tqW2gFF1o+GJ0JWy/T70yod0qfc8+349gm4Q5YBWiL8QregrtyxWsvdPbXqsMX+kE1TBcgcBXp2nGsRVMOvuI8XguseXS1lbzYyjr/Cy6nVg+vmnbIRstXGHiE5O+UaAi6f9RrCOb3waKOHzdRaGzIeVswut9HmOfFruTWNzHx/gOhmY475o3/ZPXrFhu2IJmXJnVMxAzg48QBbr3UcjMjV+hcxSOrRgqyTKNaCZksWkZ+gMoxJAsWRTPdr3vdvk8lZ+UKJ4alRqNRzDEfC1CvE+MznjMe6zbzQXOGUZulSITU+CMk/uYaR4UpzDyuRCpBiQfJIoiYxyDG53JEOwEVYC4GOK3vjXd0TlhLGnED+rRIb2A0d550EwrjD9MF7g+Ip8LuA9x44OsFnugBOFOlm4JUHG7483XgMEiIDPqsVrH3LjdkmzWKKS5LC2IFeorhFWzp2lM00C2Gcn/mXUd3TESSIOXOif2mbcTPgsqB1iBhTcvS/DU5uQ05wHY9vATGXht+yhxpimfdF0wyR8di4Obq/4CMyPa5t3/qdlu+0wmZcw35+6lJLPUGjqBxDbLfLKjwqn6tnzAvUz2aduEHjWGGne9HD/7hsVe2DzuFGxntUjmQ+ZIOIFdpwQ0gzV8P0JLeYGBKQKYLTOydkrR6c1DqvEaAG9gYqTA96BEcb7Yc12vOycY/cUG9ly87j9RaTC+9BeT7Y8Lv3/wQqtPK4aCiRMNxWW5pvukDVnVq7lo86pyCKpaAloY5xZ2DlavY7gVySAhwdKcNA+QxV/ATymoFMTNOyRMiqks9ED/4TqfKSop+9gEmPmqNGRLzRiGtws+dR5G1lyKbH11PtgTm0E4rvC/Tu4olOYsBAqXIktowBXk8MPXn1i4LcUvbMfUF5PT01Cr4zlNegqOzym/BlpQTEKOwajkN6gnxgqitrndz043fs8bYcwv8k4sQQG7NDdVQUNinWybpgei8DRhqnQcwbQuqVStbF21p4gl7eVKGY7/jQAxiWL6HdfC92bzZPAllpec8tKGR0YGrKwPrNbtqSUJh8i8KYed2aZ9ohoByqeqh8yFVxQdRIsPZy2B+XQivJifIB1SVJRtPE4bI4b05rL7s+MG7n44NPHQqFmabUCiHhmbynxQ2F1f0OTCzlmrA5I2fm4xmdaaWpTBu1poumoKCVtwmcdRdf+z76yoqr3/aHancvZjH9ydkoM2Od/cBfej+EiiPBW6V4kLrWERCWY5S49K5Sfm/UR4LFPodSPvAWoFh6I7JrvFC6g91H6lyXHHuoew+4HdbJXv9QPQUJ4dGKW4N0vH+kNoBFmveC6DtT00KoRneP+YzWZH1z9GH6FO9reUDDtQ0ZjW7sy2yC3C5UH9kyclY/wTLRW+8JJ4FEhAWasLMpoKfMYx773NWX5gQrQSExZttWrR/LkdnzCM8KppFTqYrPxuBC0g9MN9rWKlbSkjHXuOeOXsAOAFpF2/R68QhpSh9kkYs1fkOAsDN3ntinQMmLej1uCsuewK4UCVO2Gh4Ei9VUWMJViK7nz8kmqwtBAEhdgLk1lKsoBkFEnCXBDkIl1snY/TUqTCazxj7xuzwDtDvZwRl08/wYHXGM8b+car/jMO0yA7i/qwbp3DnXGhbBR35oSUNtkwK/V3X4+aG9z+kAgf3DKYGItU5RcqHaG2jiG9uAenjk2dm6WdEdcuIlNRchwdcJqf1IquRW6iP1HAystGukA/pkelXQr3ylipRz0KDbIhTqXGakZBYqtHbZytN4ExONTKa8cllptSued5kkZGXTHFZ0Tim6ix0WynuVR9v4/wxivIH8gJXrPBDuhyn4Pbxss0NHhMZv0D/eVcGRgfAY37Pgc+2Zq59V1Bksm6wfhc+2Biq0rh4n0cqS7UQ6onL40HUl9R86UWwhZMK7bH+1Jsj8gEYudP8dyYF0CnWhHp3eG+Pa+Pg0liy5Q0O/E3i6RDkwXpVF9TyCKOQHEB9VYOZujz5kyGSteu26464jmZm8G+5QZTEhKigrI9fjaLGr84+2PKkxqdvStxyWsS/POo4QVO7eZabm9uLre3ooplzT7OJDGs5GAvTYEHxekTBnyPQ8F9k1RLCvfJfyWGQ/wdHtDREyce5XAMgee6KPsEPVm3vFEXzjKF3khIYYab59LWx8OSr51M3Wd3BCOlvStITEyVxsxnW3T86neC83/lSW52o5/c2fcMMy1wG8xTj1Zrxi8UI8ZbQNlHBlT/REEHSevpkFEUf7XoGr3NKT8lFoA6G599Ju2A16rpOixQRFwW0YWIEwIUhDG4WI1NXNKRyYBly052UAHo6BDw7vR4H/mFH0/togVLdIldh3przPWeqAiRgtmg9nXKeTEcm+OB0mwFiiz++NhV1+i0mko6nLouh949xNvg9TNHc0rEBMkaJPGe6CLjdtpqQqjc5bF8ca/9HSv1SCaPk3XIUVhCqT/hTvnCmtuLQT5NLjZDlMJIRf6SHL7nib3QBFsFf4lhYoKG001zjxF2PxV8swEv1NwPyCBbJTnnmV3bDjeL6otCCtOoheaWWtTUbImZxW1t1qocgIj/ztuAG2Nbx+18EL7i+OEWWA104TrAq/yJiozhh0tgUv0XsbCVjfR8e0Ay/gAWhPVvBKCGcGUzS4sOmTGywciQ0dwYGzKiRjdZdCWV3W6iMN55+bXFYWII+JvxsZCreU9/PRSzyvaN8mp9JGY16dW2SciFGnG5wZZlqtQVjXSw1+yyyaa55CY9k0kdtkzCQBruXXXQ2H3CUBveWWiC8ly8qQ23TPwxvo1C1MCgp+jq5ReEJ/A3k2ThlBf3pnduWKkYNRDru8Z63SnMbvaRWtIEYHZ0Wpom2AtMYhJ+bzIjxoP350DO9T1ogZ2vbi6yEtF0b8KR1hDkZH3IepL6S/5O623GgCpJK8fKLpvPPdReoQrIZzW9cP4NfdUYoh/J8Ex2SdwTrVtzWmja0juS6g+y/yuX2dPfedYf0AXNiCSO2bvZzBMaSNKeMW8h3DjEH8NdFP/ldnX9AIz/rtp1f5oYjsiUXfbMo1WgY6RkLzTIeUqzESyyvaclscYmqD2/hZaWJSyirF6+rnYUbvQJ1A5Cb3pCk0M8/N2JA7yG7vxqorFZ032XMvBOG7Ut7IdAcF6PdhA/YC9Ak+laZVrua9CvJWddlM62OKY+pg6/vsKSOyS5rBSgZDLmsRiJjah5tAgG0gj+XyGQ53wFV5Rjjr2z0slW+yySQ628Y9lnzqWNOp5a3fD+CKIPdiS+mZv8R+Z8Iyjmftinl/ecGanHoqQfJlNsQLtjolAVzPPvCFdeKh/BPcr10P/yVq4TAfvDA4m+bK4sT/m/hwVizWEQVvxQvEm/jOhBzPNr8vU5rIYdRklinIHEQwc+tILCaJvgpdmcfpbfSiqCW95ii2VSH9J3WuvqC54hfAG2toTdC6EKIGu3jBVwHORf7VZ4H5dbI4Tn9pt2ILlzVsSaeW/iLZNC8Xz8JPanyP+xQh69BlMt+oRf2tdt8/zVrGdXJMbEQRyVRV1/3pFXRlv8J9ODQdVbe7v0Z95dfac/Iv9qYK0LRQghkS1RvbaDLfzWDFBsJP+OC3/FeczDO1XlJhQCeAwyEZ6kfAxu5QSt9tGe436T7MRuKC3l7wHeOY0qq2Rjue1L3yvbEdFYmi1y2mEnU/SKaczsOGMWI8uIfkxCLrSfD3hK2AvjVHM5tTdIIZlJkLNnshhz5mdzfy+xBrJ+4y1JnqjrmjqBml/k2JXfYYPg9D9kIwRxDSpzq4Avbdx9NMrDqYz8t9Oykv5bP1pQyv5scjXQdFfrvp8T5iSu/LCKoWvtRKLVJtc60na8ZyFcphcmG5Xz0URGfclgM6xV15fMKEMd1bFo4GOABgexspgdI4K+wAOr2qm6MMmBnkXI7Rq5RJkzOqAEyBi6PWE6j8O/UBSiVqmKDjTjxq1VTfNPrqnIFxxNGmNcDadqnfNZ2u7xEQamXsgfUxeormSvfNm14aY9xi6dYePhqShNe10j9RnWNvxA2vSVsJCW5it/pNwpicqa3qqan1hU8c9TNx14OxHqv2WImjfXTNE+w9XRkiiqT6rJZMYJfYfWhQBmcPK6Ls6XSOZS5BLCDn+CdABnD6shYv8+ElEuDSOtX9lJ2jyymUQSh4dVI7C7ZAD1lEGKhiCbRl0ns7HvQBsgGf4YVIdYJDlDxiKgf5pWv9/jRI5qkXuTjRK2tIBPRgiPxAzhi2iTpp4B0RLEyWziP5hkM71jRnRHUR1OXQYFJIfQiom13YK6xmm+l5eqcydSSkS+Vh6qUI7pvDWMHFmkj5LF41qGQwhSKv2ABca3Y1zqf/oelYJoTVmkc6MLjKDn8PsfJcbD2TanHNF0OjN+44L0YD9nVpX13wUcBZ09GWcfq+drbkqA5LeULA1UAp+kYU2r4JpWN3ZpE7PfvWP0FHQn/dAUc+D3M6f13/mowKazFM5emHd5Y3gvAW4LYBeKzhdbwuwFR+kiJiYzoBX7RAijug1qEm3kFnoDViqEI9y/+gU+gVMiuykEXLOLg1JcU5u5USsnj39khc5qxV8hN8BO5mZjPWNJi4wshKYoVgcZoN6RZFcjjmVxu8wqzVzWrhUoGIkQCIvHyCgdYo8QI043Weye6qlLn0UstwhGRfOLPx1cBBTRsEQso4eviBcrKdwYebzZfoEmRcJbZN+Eh9ApFKQk0QKp5v8lDDrVyEFyuGk9SE4YuYpJGktv9L+Jic2YdOBv+BquesDLZMvHGX2QnmZQpgjOk7MvPwv3dTPt5IJGe6xosRhXnmMe20QTsDbeMvMW6/XgBA0xHV6ocfPXi/PvbYrAmELxL0dlkzzHL/EC6mF2+8kPPlRpaQ4bnqwqUlqv4wJKTkjovZngoqHDWiSPcaR2MIx3A2huL8TmvfVQaEozhlA6oTALPDQmLTs5Ajl6c0ad7bPh75QXWuhFlSIUxhdZZwlM4r7+nQDytzu1W1C+cMvIm8gowr5h17oxGTmjFJD5XAy/zE2eO25LMJtFCvAKepthgaD0tnNBh6wN4d3KuTR4mC25AAJJeSu/kqTUJ/H1wSmz/uQ7+Xa2E9wPZVyWcQK2afGD+X5Y9tsoliQXi+Uv20fZlafyvSlMqI6dIdVQhGFS/oSsWP4H580nvjXIvB2SQsOJxf0oPPVzWoBgKDvG2sf1uRn9oyD7U9oTAp1AkaL28shYYGKBPetADaxsJCAAY2o+8VsZ1YFq+yA0CNgKzaa8zDKR0h+jzZAF24KyCRjQSixlwJlAJCaqgD+9JeFrl13+OzrcEz3C4ze7JKv2mCvtvYHx8zcwl1bNSxw2Ky3FvQqlC8lPviL2K5IoquPzfuxwtmcCU9Sq/Y5iojv+f0W8eoSLOkJA9Ss5J0Ko14e1J01zm0Mda4+STmyz6riTMAsURPZiHQ1Q9za0QPtuytcbDk2I394Uk77SsagxmFGI8O8mnuxK8MbHGoO6fnE5emrjPZsFLbVUF5/uMKShs9UwD8juoFyzB0KkrNanOoflmNqIULxLaRbc2PuoXP2ltjd4i+qdA8mT18EtNia/xaXmZQbCkpUR9ajSk3YUPiOEE3R9ye1fyuIPRUuVPhmn4D51GJVTb5y6PNEvX8yichHbdUyuHINPbVbw2PIxawPMuoUDJvogFY/vxXuX68rJZzdPC2eJhTibBM4GPMWl41YX7OuSX+ndwKTrT/kOAcESMUm3D/dsf9v4WfEKCjHlrsd3EYlN2RVKOfuryszWPbeaHGM3Qgy80UyBNv1imroIsW9J6tJ1ufsnOw6n4rhgNjGyVbFYjZXCHY22wMsdK2M93Creu8RtDyRCXJzIZyI5pTPz8KX2zN1YVkSx7qNBfKF3pd13HWucP/LlQyKNyy7TEL7SJpUbsdsdXglsJeTGbRh8PHC4yCrsEsFJpLqrLh60xVdoAjJO+LerubXDo/jS2nB8oIuMESesziUCJGBIbLwyXyDNKBh8lC1/WvVApCUeW1qXxOnEz/gM2Jl41ZYoKvSjEFWYv3bnz8CM413HTNN5tvdkc6k1X8ymlM1zQPRdcskS6zoiib2+URLHX0hjexj1I8BAAGRBI4pGeshYQexjOewgBrVydrR1GN2RTgQG6QFmqC3GdfnBQ3irEyid3fHeB8e+1amzUkrBv4pswFadVCCVJ28hgxrrZRqXoZkSvakT0k+2PO2YbLcGcbjNR4F7VvhH5boL+iRv2fIC1GFRW0N65ax8spUodGikOvIcnxD1pcj7EYYyyGnHlJwBi6EolaOEy7nLTgm34/Yfono3DAPNSLfwDKonYpQggcf0Ux9IqduDIqXOz8oVwONOU13NTQgGtEOKCevJDlyIUwQxOscXXo4B9u38rwurdCFz96cKKb9hCjthlcfFoBTFp6QkEvFqwdFj2IPoaZcX538TTRynBH4YxYjnzk9Zlq23Y/j1hWdmTMaayfVvgkabLSGQ3PlGihchU4XqXA24uvYdLlyGtrI+RfhujOp5NzkmUr/yzyJY/IBx7NWETUaf0TFu6udnfBBgIQqfNFr0FT23yWMngEs3GoNHSV+uKCd94rSAkcxZStKN8vXk5m0UO7w3X/06xzBX7FIli79JxYKrX2Ul48SXwI+S93b7jKQzeDeyfEH9fp+T2ZSHtaYOpsRbUiyDhQctq86jUbpsYHvjGcOnHbvj5D2CxmuwwCA7DlqGzIrvguJ3THkDDYy8rD7DvSAbdUenCJIcHlat7+C5srSaU67Njg1G9prB132+jubSGdS0s5oH2JgMX2bqLnmR6l+GW/aCDjRW4WIH1NfvNRUei+ncGArswRnCOe2x/sZ1tWw9Vy/NrvaA0JDmTXZnByaOjyKPZ27ROUifBTeP/nampA36yKKJoS2/q3bMQWo7hahpLlaCJXMvUYkk04YWKJBCkM4PIfEMJOlEO8jb6UubFO8MY/QvsPZKyppb5Tw9wSapdxxewbD5zVrYeI6rT6D5w1+XBpV0z9iOcynXGk/fNphm6EVLCz0R9CaDsS6MrCeDlTTnR1gChhYdTtzjijd8Vc8sJVKE07NTzShHUXOaqE62d0BgcvbQsG+3ZWIdOJLB37byhcuu3Ub5MvRO7VdyuJy474MG7zoCa6XTC8PrMTde5p2RwWIqP4GOG0sE2PrOPOFq3R8rOTPZQrsl4AY4OfOnKEzQ3qF9BYJcjBNN4lzyXRPrPuU3H8LyQsXj23RyYa3/QhUr0rcsoZHNPAW9Z2pQDkeoHO3eCDEg+r0q0/uo7fY6/L6+cv3Y4mpuhkVG/AbmGY0R/Cw2SxUiX41rC7lzwdv21aOTAUd2BB1ASryfizum01q6IZLHI34GsPPmA5CJJ27n+g7W32NFFLu7bHjN8jhujFJoY6cBxoo/Dr+hkauxJhsTFraInZPl0U3KnfvmtEDPEKjrOl9WhFDv1i3vZdXFiAh07tevOT2RQa4BFz5i0Q1Ad6P8SxdYFOMj7poJdR0Vd8/FpA8jK+ybF+rnMrfsRI2MLPHWWXUkdrk5c0IYFR6yMPnkhw7wZfGsdTtusp0ORbWlJkR9FM4XWFYeIjTJbLOtp9nvQSWwDNB2eIw+zb/OBfDrycYHBzSgGCN3FVUHIw9W9PblmBZnLG6RBbcTw87BQL+FI4RDDvKELZhhCB48e6foVpx3ZHK+QX88SwttAOozKZAW1HNMHMJN106SwOX8XL/0cD4vgCl08WaRCmeWSY0LPDR3FreO+B6eVrHROEb8O2eGWyvmJFnlw8PD9Q0oCKHeaOMGSuc/O0Jn1ntgu0/5wYhrPBl6gehAqkiNBhA4T5v63QD/aw75vl3VZtCzEMCA4sUhgJaVyaDYx2G0LQEb5mCylT//zvyReMxK77nyHIt1DWby3MCxDQW+CZcc2cKfkPxfkUdc4PABAdYwG/IZ5GiWrucbjwkMkqplYGaN6yDoNSTdBVHY55IvpW1+Yn+Hla2kj8Llx/yIeU1sVHc1njTj6rLH6vwSZQfsRK/HPI9CA0rXYKAjsBCBUa/NSA3AH0DGyCmQZBPgcqY5TEJik914ZdGpbFAhlaIEgnopCBSIkLvFUdY4YzI4BP+4vokavJuSc2OXYr2pyQAW6ELp9Bf6mPx8y/K2FztYEiw9H1oJsglcFCNLWkRixNRU2XNrC6vl2b6TpSaQE7AraVZ+hJ0truR4YwxBgZslfy0UbqdadaiQ3yVlwJJjI57a3MeXlceNAt9kVAJwjJd2UPI5Ri7gaajfOFosCgLfaye2NIQOZUED8xVXidI9n3aZcZcOfkO3k/zYeU6C6KWD+poVGpeNojpswO7t+v/krITI+D++gwF5mJqEiU3xk0CaSeWdm1zgyy20VJHqbztkJFcmo84rwVprlSlIWTnklh2uJ4bs6Sxv3InW6wH0qd6cJQAA0vwkdbBziw/mK7Qk2RtjFN2ptSm3KhDw2xMRB3mBX3CoggKz/pWFVZ4qTrIJj7Smd2B65n8PtukNBhJPPykwU0ZTEU0wkLFhXUoGjxGhfVvRUJ1l9Ml4eGrvECNkJ1YV4e2Nja108Z8Tc/WYjiHQC5wI0Q2ZqPlTZC5CopRZWKsGFmENJNL6xq9T9Z7DjXwOBfl6ZIhJymcBAe8QdzrU4mUBfn/OHZKf2cWvRNhOTSNH8Ft6oveaV6Bl2vFsDb0KmXjmDqybQC9hi8JmNxPyDxZaEBwwChEaJh7J12bwwpByiEK0IIHsE31PGIEwk4ji4M0il5hH8/hRDX0d9pPeqj+QvIm2EY7UJdamJelfkXULZEpHRJxQbgUqewdRRpakhBiZcTWIxMoZM4NVeSjHSTHEhf+vdV2wLWR3c5+NfTFnRqwOfgP88n4Ersbhpa9mU7qDCTjhMx+sx+NdifgKpyxvyFwLHYAoSYV8yAdaFL2hhuuSRaa1P2pRQoJUo8U9wuPO2gUFwCnxsitO62PfjDnOiCbYv9EXsZgMgwRmwIYl7a4zM+zB4HjjN1V72gsM7doHkxuuzqgEBVM+hmGcVkq52oXwZHyie/80bjHDhESA3FK4oLf4IQYPdmX908Eorj4hwwVX40xZFXFSWWsu4MsvJHPn3TWCKm5DvIoIsi/p2b6eTxyV+tyF+LyWPXa2VqOjxbu668Sljv8TbffEXrb/JCzsEumHunhcqE0h7ebhlIa6q41gBTswoPyJE7lWBzn9VEhj7JhkFSG3qJUyJ7mNPRWxrFCLzIDlEBkn7oTXwGpeiOLQXtUS400G5wr8h1DO+NMYRSGGH5UV5mvmnRd08F3SqFAiQv2SbMRFyVk2+zE1Pf1HTofVNvFtxHgiXW3uYk/AzcrlWjOzMAdcN3IT+jOoEzpa2DpgkYOgatEHL67VJpk914+YYdMdfSojBi4mhX05PUPHJWMKEpAmUFkyQhVbM+bs4lavo1FZib4/V2hzlvaO4yWj80YmvU00fw1N3n7V6H0GDNVQ2AdT0oULf6zLqf2snUwhzBJySrBXiVTrjCAMrZYu+Ja+8RHDUZ86Y0qDbqNnwILFcGx795xXdaKde6KDTwLCBWC4pLzaJYZZWt19eNVaNgUDKECEVU+By+FszFjyfPSqDICv5gCrOsyc81pPmK2kYIIcxyEtYW5WxCU/qmXW7hAVEWrsC46Ha0y5NR3PwlkXZm0ztardvFfF9B8oHfxQrQByuKwiRIM97sZJ1elcaNr5AZymZAbzk++oGhrGH+/6IsD1Edw4rDFg0h1tqfb8oZ+0qXEIdrQU0qgeTz3w6AGt4nzUAwk2MgJnuc7j4LB8vFQOU17BptTPMZV7Ft8OwJzBu7oBbGwFn6ExUCNYZZ53+oEQ7U6qC9BBqiDMLwisvoKNNGV7QVmGG+AehysSnQLejDEeoaTgb6V9m1+hkpQjLnPTIhZiZT3WTzzRPSLVZTgVhMPfpOkc+rfihJ8edaEzpO93RR8SzduxbA8tniIEnZkQ8Qchm4v7bKW9uY+/iNH+RE0vYUBB/LMcGZxWJIdbBEj+pHbaZxxTghG8wd4G682gW3gTxSIwgB+5Mlgv+0B3C6C6PehfjW7z1HEwwiq/QM4PGbLQ+VkVyCgwS24sNGq7tLgkI3bKNDmSx9KgseCLEE1GfvNNrii0NmLi1YT6PhItPojhJz2lZNuaghaMDCnM11eZ2R1B2CvelXr+JYiZoUlRidUJEAf0L9+gZMbDjfzfw8lfaUgMsi5ewmNu2gsBIiAUIrg6iz7bw5u1Xkiu4PhZ5aubBtweC/fuaK2Yg+0YTDYKIWaun5NkJ/Y7l3iI1bvkhQP26ODUAqMTAZ1ZwmSYsWKIy+bk2mHNGqS35cPl3QhbHy7Uzzi9RD4gACBEVcOOZlxZFxtaH12QBbEskXyUWCFBXn2X1N11t9Drz6EQdRs254BkFhGqXwXLMfMjZVtJGUQrrLgKv5jLhfqxspgDerwWL7fk1s26a+iMR8bmz6gMigdqCbsld/xHahc/dVoPxW2qinSFKIVzHZUXncKYyZUyecfVdYPs3mCs0SPlRopC0udp0AqpCDa/Qdw3l8ZP74s0vsTw0miDByI4bqoN7UJ6Q982NBPWv/i9umABHgydWLREzdcY9jDTunSxk8ohP5m0xDKZEWtsE5cQC6sCVtpGx2zx2vdz35mGeMXmU3+EbNENczIV44WnXhJ3oSRUTPH34DjHdiF5MkHiy9TIX6hOnwaXdO3d7AzLIuMxIhrZa2tNu+ReC3GaUoxuaVcneV3rMoUYjo1+i7fceBfBC4q367AdN2QR5QCmJRwKCE0aJzMIT3EXerv3v6ndV0jG8FTUNMvlHZOu8N9wIM6oQ6pmIHsvVIUefbO77E5Ij/nQKAPlxsszT0PKp+xW5jGQbsQr4d6d0N2p71uNwysZekDHtA0vXUzEDwTB63V2Yf8L43x1y9XPSAbiGxCKaG2m85cocKmhILjhr3OgAbDOLKxP7/PUvYdW1ZF0n0YwgbrHFU0sEJoU7oyP5+07Zw2vgHQ4na6BqvHcwW5ghm8GM93HbWR+PrBLGETYAQBrNIZMIfz1PcmR6Mw3C3Vrcldz/j5ZPj0tqcUvfENgv+FmSdVjzqHdi2h4ct28cKgx1rZBlwfwWSVxaYYMAhOQGNZpLlK9HXw6146WvKovRxpcZT2386sPKweunNxf+qCcE1dM2EAy/sQJbjIAT52fgw84/s3PerjZxl53Rz8Gvq4mkWpKIEQ4LkelZOD+QSLDSNWGIGxsodcWccoxVreXMo85gLT2OOvF1Z7QUj6oAOi7z09R/9FOIuYsKALrIwLIlKuQ419904IKGIjSpJ7wANQ30zz0mnTGoa6SsCD+qPmw4raQaCUucHFHbYD2fTFZARmQjFzpECY/VnPQQiAsOj7xWH9v5xj+J98EnK9Hs+5B24Pi6CppQAZ4CMIPNman2fOMen8EBsMDyBT0uoFhwu5tiW01s29Rcr7m1KsQVptELVSSMvMzXLKAZvWLS34q3YOASCg4SfkfgIacHOp292MB+LOWUxbF4v6pHmte3QpumsnkXmXtITKuyfJo6C95Wqv3vpSw5Pksb48ByiXDIl0RxCisYTFGAycejfMA0zGGnmM+htu2NGOWpmLrh1rOPO9bgka4zjy2NMAWPppthPmaqp1KIlvrpXittztPYkRtRCxD/6N8BXUCq6WwiFdPFt6sz1Hz/8d1+6jQpbfuJrZy6WYd3AvMLakSR8DVZX+SLL01EAfT3r1Fkg2SqjFbT7fFliooZgn87a2tyBemWu/Z858Zk5zdsdhMQtLF8bYCvU2/xbYld7QMYfxV5zf2l4nJWOFG2L+dtJKatz5SCIn+N9RVRq1PhqSuWxlsM3yLzt6y6akhmjc55BwoFeoSuHmeL054/8/SGiIawkysxt8jyJENh6PWbzfmROqC/k/Fw4fGhjbP3F9Q71ptCNF8GKu0Fv1xXo551nW4u1j2mVNrWywRMxbAKU/elFyJJvR0W7UhavuRbsK2qtfcA5fmKSbofNI9p/iyhLr6eL4kp3HduAumT0CsRyjcqgEVw+vlZTd4G5XD2nAgXa3e/XHn2qq+AcaCtPGgA3jw09yZ3PKRn6458RMrgB0GcZb+2uI8CN8lT6+s1+neoFoRFylm1KClmSKfKngj4TJS9RIUPDQe4N3qp03i3kbka9JdCcOwMCbrVricc+3r34VyJMLrFRsN5DC5RRjykJoqQX4qmWR890qWOMQmwYK7HLbkNmHtZ7HfBsOZl6iN2QYiii1lEhHNEUST7jRlciUShc6cJSinaTgFGkLll+D3LkPHDgmQb3ygQ5B8JsdnaHTatGG1U+kpnf5h1j9a8zdvxiK9MHUTTGK04CifjMaQV+kQ+piWvE4xAhdNY+vckxzm8/zjsd8MDgphHIsFlNRylyyPJqVOLljKrMUJxxamsSMecfvBWHuegcNAzKW2+ToQ5ppYvUv4mpZ2/MW5ag/DCwwuCdXFIw2PZy9PGtcw1cfseNH9hdyWE6uFCdENQfGn/Sluaa9w/XDEsMZGktbhLhjTR+5QjIhQsdLPoXrX3+I/roHFQlIIqeUDWscs7854bwEe2pW10mzOhg4Tm0rA8ZwfXa5OwMwItFGfr1prvpJz7MMh8NQvOrgVQ7AiiUtBaH4kOKmoxEA5YJ72ameMxu4FBPF0x4C3N/9KReWjod0GBSXDgV49/uT9Rq/faLejFOLJj5KBUTLELM1qK5dRR5vwp2ld3S5n1qKDETJaW8+lpC2JOOi6SqlyR9941sf/cfTbp2kcwr3s8M2RJ1gJUL6RneCDHzY1gHmk6MxwUrHxmwH6XzKJIb3X1OdLFPAtX3a8ljitOGR2AAOrBi8TVvyP23oKzjO+cwKeR+JGZSwfqoZy2WbgfntZJhrssDnWKvTlAU+jVG604fKtk7jYN7S2TfIhwqAvCGxieInu173zPw8kmTygLl0k2dbdLQ55JEvhFftixGyQLUXleahH587LwCq6SRReEGcN/yjYN9cTmA6Jpk4l4cs/AAA3uvU1iHaIajUDgVdikK4lYh+XXqHMivMY1/BP45vQllbdSEfwpY1ukHjEVbWwzzTfZ/jtk6QyRKN2d4LCmcMm4M8f6tf9ETSEFqZx4nDUPnbIS/G97Rnxi0oL7Vk5prHrYrL3FR+PVS8vrlfEaXvPvjMkVlJUtafkUp0kYJ3x43aSS0KYl092KaOSQAmNP4gv9wla3NXE2PCqEt4VuaBoNUE+7dYkxfNQozmiyf7teEjaxitgRgzyqLPrVd9F1eeWwCVDtCjP2MvSV2iJ6fxAEuGy0w/BIN2sWywFfwtBZOEfzcpydSEGE8ova5YS1wFTEZtixbd2/IpcegkfNKw2nmEKJCUUUO2SlS+kpUBL65dvJ7sAKriQYfedpBJQQnkSeN0TqSH5TIwEyLMq1uaiS6uvQXYYP/UtRdMJVk0En7yElXA5xnvDfLapA1C7yPH+ekJjmGKTaJ+jBGL2jovpk82fZORWXJsfK0O098vhdo7yOuCW50qQxchfd/V+WNfR9ULvlHjSzyYtiz/ujAZQSoVrv8cgQZF/4lFM61uZKm58olk9uWuok8p+ya0CIq3njYJ3L3JBGkJcAYeZxcwNID+uFfeNLdzcawGh1qZeNlkSD12AO6nOWZ7tJldMdWMjAtsQ5NaWBaVCYOrVyC3VrG1VQlq75mkbWVnenM2nBfpGl4lirmEhDJaskGGbJwknQmJCqNjfz8vAwrIYSz75pG7dkB/96wrdOF+5ttLJ0tudnBo17I0rN6w3d9kGbIdS4UvC1ooj/+5/EFeZQnxRAmtbaif30szLZWajioKZGM0T62+pKdSkvQyFJCJ68HZISREv9urnYKetjgaEe84GGfv6qVshFbdCO88ZahxoT33eTsxXh9dl+uv7FbDbTi4Yhg+8PNIBT6nvHsAFB4yL/D7+oK56y5hRHBD5rTbQJ8hjduFPDLjHVnB3/QtCFbB6FAD4XHIF2FU9lPa3HOoEXOEcUbwkeQ1a6XE/HKgvvXRc/BS84BZN9u2vO5NexU+PeCR9DaL2/zr1wATR+3tjh3yY5Mc/4cEMOwsWnUZjErYMHHujNeIJXdQJjDpG1GQ/gLw4eXUNLeGSO5Zgz8LOPmZW1e5fYjMS0KDmjQlaa76J+iQ791AfeIgj9gR0FRsXpoO8vEP8TUvWZDwG54nzYy+gGfKqYqMlmnz5sBAfEGHmcoQRN66CrpMe1AvlUIzJif1Uj2Ynh2wiCJkcjD12xk9T9SaTbN9vd9Wa3atSOLPHn4F9Xg2Eri6TnsYC+j1HcqJNM7vGNO2E8OJnuxEV2RlPsKVedZicySgEgxwOnvBHpOlSYhuwLW1HJNEqtQ3YARoQRrKDYS2OYFnZSjNO97dpp+Z7+BFlLBw9qht/u92uHnLwlTxbXII7yrdpqzKsrPCe3vtI0uxxTkdPJeKUpOfxtQxUchf+aIQBSRaxLKjqQdhEiuQHLjUHuRo8iZ9Uq+mc0vkP8mweS1qecf2lcnSsWRy6wazJFzvu5M/hfq+GJC0UAnQFaj6Yqx7Ps0fpRMRruioUp9WWr9yn5DpBL8xNBqG0jBdr1C4wkrVgop4tn4LBAB1TNNwiw4SO7guAA3fmOTXGC/jWUBcVoXwVx1x9cgOFkQe3vSsodZ1fXyxuRvs9e7pQMt11KiCatt2FewbKqgMiZa0E67xfEzZJ9IiowBU1IxCh4uPCcCfOqyHilXHJsmckDG6dZEN6i9zNrmS5NhTC68pGN6wl8xDb9g0ljmYABjlGErdw8I97a9k8lZeSFz3iqyGAkW1RIj/o8yYTXX0/lqUcLyYXoDsd+PLfdmQIN5hfSOhw70faMx73qNKSzGirogv96cIxPlcbQgvoe2HrMHNQn+wFzt4sNSC1FAgXBG/Y+rqfXhEByxHHGUXowvoqnU94b/UomGVxy/BBtbEGB6Sj+/JRWok49xF/zOsUkYinp7pwGqhYplyb+wNe82rJZmy3gzFL4ylStCKSTIBhIMNaMPdfI2ANmwcE="/>
  <p:tag name="MEKKOXMLTAGS" val="1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PICTURE"/>
  <p:tag name="MEKKO" val="MekkoChart"/>
  <p:tag name="MEKKOEXCEL6" val="False"/>
  <p:tag name="MEKKOEXCEL7" val="False"/>
  <p:tag name="MEKKOEXCEL8" val="False"/>
  <p:tag name="MEKKOXML1" val="4HooU0THZk28POP9trq+pbTvvzd/gcV8t56cq85kb3NDTsUhojRA0EsgEHHMH7oYP1SYpn09ysXVivguJdhTvfyVMsBLTGvcX7WPTor/CmXfOtOhH41qEIghVTfcT6o7+LHxt2iMj4vD/tblS6qzJ/OHdSMGn80SAkSMQY+vPsTFBOXVu41tbu8+6L0VwS+f0YXQsvhOkAyC9Q3nWduexXP1SnER2NIGshevehlmtKd+FtrOgnYeeOJm2Vh5Ae+y+xKhASf/IvnVfgtmbX2MyuTiuvk7voq6Rh2cOkR96QxxeK5kgawCNtUErPBqWVpcRxY69QRqLYD0d/R3mcrF5ZRvjT9yV41bhvRjGKBaSy/m+yRT4frjCaxVaNKsjR/f1Ci1c8I//o14A6hkV/Ahy9HetNYWo059XhLhcsACwOVpCafS/IFD0uR0vAWLFyIUM6aAEu7CFhzTxULFIFHBcUkvz/C3WJ3lqHf5xkf5MvIrgCRY/QZC59BgzxwSxpecveb4Z7fyu70GTl803C8LKOyGneG8SAGpfUeG8WTp+d5apno3MIPTLE7KMQ9EsFFjSSMgMzKZME3yGQWBjFFq+K5RQO6jgOfolyWl07nDmyPLnzZXkljID715DP1QkKVGGBxtAPcMvXCINYfbJaxiZEuEmvozCcM+D78yCW1oGrDvzcCoi/iKNKwlNfiJrGiP2Wkv8vRA20li1rE20I55J6N+kzaqG/T4Tqbg7pBP1qvbkKy6QcLMq7p+Im/jISfubdkIrbLvoCnBp2UU8d18ME9B36SAu/nBq7uLY/5WAtn5fOEP5e1NXucBNp3eII85w+hQX2UDUVEhzDGT8Dykg1WTRgGSonSfZFQ1s3tfjsnmTz67295UGft4nhjFAAH+NCJj4gy+/o6Y1OuT07EDztA5Aa/KAfIeGjR0rj2KaXGj1gV/5e8bB5XkstaeOfZFMIZkWetP+FEoKHtHAfcRBO3Zze+canBqeIerfztf4hWZrWGaq0dnUJdSjcF+uuo9A5kHwK5FbbbIFEEYDTFaSxO89KA5YMKvwayObowmaY/RpVT7B/iiDfq2AUIrTlClahO01GFYawQj6vFBpSCYh+7CxHoa3pcm8UsH9hpdRx/A8RvFfWka6qQdWUjB/xIqy0wZFHzGLyeo5MKXRkblAUB9vFYt8xJ9BGEuAfgXHA7yvyWWamuFPhFCfctvBK6SnZSNh8ZOzzq6EDJco9UMX8Nyh3/b7CpYv43d/61qk0bm8DyV0nwxiGoe1m8DqKJneHRshFE7a26MWfy59pNOOGpjmxmTy4J0aJXWB4JlDfyEsQHvlAVArG9Rma9aSumVdSO97cL49ZBIlg7qQwcvhS0A4xDnAZapCfUJl+rRfxvvgSsI89Vbzo+Jv9A6R03uyG5VF0esZKY/FsXryYJwDGSQOVzkfhA0x6vOcysI8Z92jJwcdL2SUiGXPJPX0KDxCPU5kWTcszGXuycqMA/MA6Ao1n7/xR4r1m1K/5EbmPcr69mWePM944zsqps0T8WJcDT3SXnZZdZ3c6sZSv/9aQOP8HSN70+6Ubmt2FW8tmMlUw3URz67VKGgDOHFn9jgUh3bjVzDPua5wgfmv1/wAxrEG04V8F8MekjpA6GrXem3lkIfNSPzDzv2h6/OhhYYxLkXasxYMtuR2ARs8TOGXoRS1fs1dsXx1TsFdcx+RMwA8RhIGl56hpfhSQBERaK64Yapg7qOS/I9KL8WgVOsCSJ9Ty8PzeJfhG3EnI1HruQqHdXTJRPaaW7d3n0DtMuDh0ksG3gydSN+Fhc6JDFfd/Quoet/UEPtmqK1UhTG9HGSZPMAX3TIkivL+uUoh0fLor+dr+RBkN3tufL9O/uVklR75NaubomtyyZuKufQATwCmFdXpRKpvBFtpiXkkpAkgEK6d49aXDOQCWyzn+Tm87bT/lRPke29bvs3ez8LdR7vRxtzusDypJGdLO+HyEOHQ8AuPXFEPB+gTQUE4+OB9ZtbSu1jch5eY4M9ujzpBjLbtjficSQt4eTO1S0P/NExBEU9XcQRJ9xeceVnlXQri6fs/OKIuDA2rnjKnj3YYcOCpCB558CDG2iR2b3FPnBUVZ81hcVPnqTX8ALlNkpYisoSojqqtflBNErOVSgfFzNqbP2QJpjrDBBPX83szdMi0bznSSN0epFnfsZuE+avdj1985C3WoCK/ZqoYow8uYtLlByo6Xnj4EsJ0vNfo3lH0byniQzVU1xzMEDg2t+dps2zXCKOn5m4fOAVLW8SdnoByz6/nkqLPi6YRr3hSaHaCyTky5714LaMg8X8CL5QwTFYhRSJ7g5xpFwSErQ5C8rOv1mKUedUBunBYaTFwLVhkjPzPnOH3jvTe3BnrzJulW7sbtA5lfyVAQi0k2FcwAa1LJFivit+DYukqhLxKViitRbB/dGzlIbiz/rMtB5KPuICao3wPu4eq9BLNVzdZe1LqNvx6qYYXwF+MTZ7fB5qWG6u2ypCfstFovyCvPTzDd80q51QktaV2pjBDaAIpmDVohfoTo7j4oc4rSM8CpN1tV3GM/SQTFHoomzFaMc4susYmnsGlr5ezmfolvx4ckGpGPjSYBBKSmF12nMYtYTvaVdPrzO9MldfSH9PYYQZDU+fByb6ZlPNA/5DSaL8Lq0aLNA9YBOgaK42aWg4wFNz4AAH41JmiUWpvNeU9olphMhsNy4CulzETERD/Hs8R0SMp+T8+lRYWxA3Z3z3boj42Dxr/93KZWbXERd64/NTgbCKqBpKoTPDNFBkSDzYwa7wW9YHZSH1PlHAxzCBMKw4gED47CL9hC26OwUJG+IdMQ129qSJ71OkWxtbQf2cuwH/WplYXPvII9f/UXecT9JYQO26dzNbyr8vfjmGalrVPoZwBWiokCDdA3mKdb0WzLYTLzTGKMdCsB9EyE4kUf6z4wD5rYGle55yTNtJuKDdLJTqwi3aSImP/wcO+DM1VemTye/fp3PeDwnEDHsgfYJd7QFIFEBXIZRYj9T2vecLB1H1+1PZzDCuAXlRjag5o7aOxEoJxjydiqsBS0hASbpyItjro+xO5M5kXwxsHr+esJt1faapET9bEin9ZB5nutGCYQUPldafKbD1a+kr0OUYJ5vFRksyGqxsOnDmRS4DPIkN6cD41sceEsc//sj/L5EPw8YDjcm5qbIJieANSrxe7XIcMTT0ZnDNi5HfbgygiztA/7lWMmFVO8FzinbZkW/VeysXcHKJYcYm9MG6RbnCds/QQZHvPKLRpSOH1SqbwYghyES4CYQQ54temXhmCfgLCaiNomkuToWL7VPt2nJbwCkLAGAViKkTrZQwHFR1uqaWfxzCtpurLw5RwdHHUKmdLLKLEvNGSFI097U4D1Hp1IruR7BxPV/arm0/hMoQ3HPksmr5+jQ3oGcgyCUI9/VIDV5rXIkEfc5HXkiB3FNxi8M3V99uaf9CbswhhvW6n7vVL0peNenohyZRVUtIy08oCe8qAWIUoqnrO1B/tN8Tb9dABfRxmQ1KKUSiaTDox6Ej40/2plhDhiaosRXhoOwAah9bPMm13EjVxrVkN1mP6s48JbY8ZykWKxpdB32dEr6Wm6JmIAp111LQwHwZ1vKn3HGdEA5kDGPHn3rAz0TVvoN3QytGMn1r7+aR7hxtOjyeeWk4KTIuJmWNYvc6V9/MfXgv6QxIVLDIJw63VKmhxdgXu9Gr0HcU/FuwTXO5VLwsC/UtTan81Q8GQ/wX1YqovGytUK3IrpTDOsAv7hByNdsgLEWn/+mbVIIO3fTWEC0+X5Ht85NR34DIMHztHSbWxGxTu0zcD0+EoDcpA3rs2ITo4bMvx0hpHd9uspnDfT4VCsyqO+8dlr0vyos4kOnkiXJnsqjIlWgTAV8QDthZHJdvNDyZFNpScsy8xWnUtjBOdwuXeizzf6ZJpQjPdd7O7rUUsR0T61KhLKc0EewM/KZ9X4LP7Bf3H+hWwycChseOn9Ewm5X6be/iCclNgueBNRWANmQX+oUbChfV5sD4gdDfAaPyQxxAcX83M+4oWaxFJXCJlzvRBefQ0M258KagLy3+CvR5X7q4Zj943gH28D2kmkmwnAxnTon/z+ij8isWF4ynSnlC1OlJCp/qdMVeFqKGD2Lxq3d2wvFirL20+U9okfm4qddTLPAvw3HYUejJfSLjDqewV7WMljJSFiwT6+s+wsZYlSe7BIuqE+vHFKNJEPX5LpI7XqR7mV0SIw4BO4E2Zp0EwerMvmFk83oElxg6IQpV2S9FXHFkPHOmXolHD6UsY8mj4xbS7jaOv8b/u9ElS/LCmaq6FUUr/ejE4GdYD6GJKrNUvFgvIzly2kbk1U1WTANfKN2xV0BLVRNRi+OZKBjSiM0XvFVueF9kc3F2F5eAtVGkazNGZHOrnj60U/rgxgBZJpGvvpiUjUNKZpopbzj7oekfr8h3kGXSGEYXuaAoWlAyd9NwXas5f4HXMN9b+Vs/vEvylzBpqQznkXnlWh7RVPP/kYdMNomWqebKYrRFycB0PCtxVcRQ3D3e44PaLku+Mu7uscVBxy9Aaz+8nhA5KcSctKnu3P2NP/Hz2DGwPkupiX//ChOv1hfkh1OCiZXSSN7CJRpXuv1TeHMZkG7TUCKvARuZto9DQKimtDDvRwJiYLxTglQvqPUz2oyBZ8UVYEcDz4BLOiHrHLP1TegxbF8y1twgJvVlZE3erxkXDb8vibdp4ghQv0bLjIEh1aFqV6KlWngnU1chghOChp/RD0zSYynzP3vhFDso007k525nFfr+h1wP90s/theWsk8KBxOLS7BI2ncWiGJxWISlxbP/e2jnktvzsVzQ4HywemxTPoBLbRiujpCDYj5mHODxNIsGcwCwrOWc6egj4Fhm6cvHjmPq+C55+RPbJM0pzx1iIyRHsEunfgcJHQ+Pg3IgrlQUb+Ij2nkJAeXTjTkyQa6T8QF9rqzfNTrxdOLMktv61bAonkiLFL5PM77gX01rPWZW2fOxD82JJnKdoMhegKDgtqjNWiVIA5dEkKwrkaRpGCcHhORcE31KgcbWu6MZui0zm/K1cd1v5aLF37x1PVCVLNiGtHwrfByNSAUDLll9UgDpQ+UCYZvDB89hvh0Fz+I5eWJlcojwB/wouuoT1zMH9HY+upwdSwMhKuKBnRVwHLNv6seDdj3lwNlxV+E3+M5uBOELnlgC+7w3bpgXKXt1BvsZY4NhhWzpchRWfhFN/qR6zDPmNOYjmeiEe/oP/oQYDNH+pvLtc11FYdAwBLgoswxMnPMvu4Dhm5SCm380R0klidOCEo5Zr/gHmLzwqIrD+jioK0/A267fddYThlj+mkoq2pGgW2Ws3UClhgg3jxcx6OT1wMO7RSFsinSzH0+BpqRadC1xqd4WgGX29eqD5ZvMgRvsp32Z3eP1R1uU4tTerDHg1aWsPJts4Zw7WCQpbAE87gnICGGxvmPwpOpBpm4TyPTbHzHKG9FWxnScXsETWX5hlaBNEP78lMlqEdrQQsZ4WXCUJYUbWM9fcRtqeOJQQ+OA5CE+YUwdz2axMaE2CMQnDKA2UHQ75PVH+I94z+lVybRzDS9Dr7NMvn/N2vJ9o5g/QUpT3jf82u04WnHtaQm1vEJc8IbutHQfyJDPPn9rJG+r/l9cRkwcrUcQXMz5fiAFuch3fADsZ+uuvoyVGsI7lvOgQbqrs5JMzGrxyvZDuy/Lt/Zz0C2lCvm1sTt1OcFmb1gB0E2vEh9RS6Fuq0p/MyTtlZHq/44qbrAXwqdAQpqg20B6KpLXnkK9NSnkj4bPJGmXvvvWv4PJICJ6D50TbX0iVgqtFunEH37oHES5NrHGzAFhIkGxjgD+Ubz4jhr4UE+0SPE7BEsVvl0gCOks/Ws3Z2wvI3IFxmYgFW0kwT81FTAOKTz2AmO7+PBMfJN2AN2pujkt5VgLWEWeTDjI6VAOyGN1w1E0Ksr/6Fb++mk6uS64uDFu4Z5v7B57p/8xhE1bA3jsuvUaeb6v26VhT0cXfVkp973muNUU0rvWbvCRaBZMkOWtH/Wv+SHVkJfq2+7JXf4Q92qJJzVU2SK0ZjHUGxsVjXNh80vPGsqlGBH5c9DffuXpnK4k0X+2HM7g4Xjs1e8f+3bl37XFuHHPANwGsxDI9811MjTOkTj+KCOimrb0vF21lGz28EPlGsliPnvOaEjQyjovD+WutsG4xpFPU8AU9EKtALpLfuy+IWIABnu/mGTFU4HjGyi5J8WYovgBNeca0moIX00Sw4RVysTBr1E2IwoRFL5tEAXs1wA6w9kHXKDkeECmoof8Z40TdYnb6PHOl2omjFQz3uVX4Qh/WmOvDT0z5lBqR/WTMDoN5mrx7E10QOUkKXq52j+Z4p4mjRKfET9x7JZgL27PE9BAbMDDcUXk71/MhX6z7BoaNhv2NMG1S0qAzxc9T7CTm1PIr7HUzFjx5diqeDNjpljOomu6QofUcxQR+ZTjs9axGrfNoDzWJtvu1VF5AvD6Hg3gl1jLg+1fnhN5nYOp4bbHi7IIymhmyKCJaJ8vXiUmQzWcE4hAfQPUtirCmDMaXAVyaZBYpCj4FuJyqIBAG703AeJ3U7md4HEWjhSixinVzpzOea5nE/FGbxBpk3WP3iE0PqqUAO3k7t4R8yJ8vYBVLbZpAvVlEDNraCIos5BPZw9inikokQfTJUSof6AvK0mzGrBbLiygF6peBdCeUON+12BdA/+I3adiYaDb62UZ4P6IWkoQNtzdt44kD6nRjZ1AFKDeHrgUdB1t/4TSodbSMa6pdkWw8/89vP8keUMir1jZzDPhz0krMolns2t9112skmcAGMKB8tacF6wViheQR4+soX/3ExU+CuJaad5Qji9Y/lb/+oGbBSXTRt9WqGB2RDP8u+T2Hh5emoLySJQYLYCi+3+NwhllUhEkjfgbXfsIWKQJEaKcyq5TpfgSydkqyfHUPdhFe2RQ9U+sV+/fd4EZgSqkxJImNFwbdWswX5q3MIXrhOdRSS4ZlW7wUMsPYHYcs5hw+vPlhkAx/s+07BVhowR/QZWXFTgwn1KvRIeYo+0+TNnhYx5McszJfK2A65rTG++EL0egutVYu6Rd0dM4CBo478HIFLNV7nZXGlaWToQjQr5wvsAaXRzu3733sc62jnMvbhP/bZlc/IEDNu1VcADdc30cDARpKii1KcGdMhpSKg/LoTe7Jo7bB55/26RuGUZ0c4UO0wx038pEjhrCBoSdbLPQXI6g3kHiTzbwV1dFWwoX6GGJxdNkDEZZe2YvE8qEduySOIwOO8zSPTlKeiqJZvSq26sn8qlR1UHztKE0RAmbecCbVarp/O55NNHw2TRP/ZKFtxxy+hdroHH5SCNJpLSiYiVuKzE+HLS3YDbemev2V8faydVS9BrjVZGwJO55jfaBsdkmbsBn6PkdguhqWYmULmjrHoR4l0626cPy5yMkPs6rS6boDonwzdD0wAvvjajQfTz/kUr85DxuMEqUN/kPVEpXt2P0j4TVc6o7YUDXSfTLTI3HEprUgHfX2HziJfF53R5+MPKbheMFWOwPd6aEcfnKavdbev2I7+7bk4tS7NFxBPq3MlupP1ZMofpe6/bCDMAneS62aPYa96Wr6rB554b+ztZzxSiLrOHQLfpTJLs9yiT6UzGEj/yyTezTXkS0MMKBkSOmesqAYlwnY78FrtOaXexC9xS6ohoZC3K38LUopwFCs6mzvIIlYPZyOOvuyiB0I9YVqrFxRz/4KUtEPWqPm8MkKG78xVT8R1SKgXHzsMS5duHLXYr3ZVDmPD9HxA7n/pwN4sR/viXktu0jQjwEGtQF4sl9ZYKTPkgcHfqZiXrdRIOAJhZeBJncHf8OoFijrczyuLPPhf12TduWTYKKZZS8/nbfH4Guc5jCszx2yyysCMuOL5y44Mub0o2EAcD7+RiS2hMmRL97VOJLXY6Jr28r4kSbva6WulQt93HughyB6Q7jySWERB6M/4JFCoBoMNb8GWd7mtVYoYKwstTosKXPHEMwmvU7NZ/KOQIcUUJKjqfwmD9u1gdUuudHVZ32VY+iEM/v4KdelAKCovtqXbiYp5guiUAwlR5kgAxlSygY6OtRRZzi+gTErXjUqvFhJYtEDDx2GqI8ckzpUQaDgTb/V0MVmZowj1HP4tMOeIOfbAsARLADMbD/j+UwMsIQWtrv5BkysDwkGhNEiX+jKWMt3Pc6QpxIpHKCS9Ep/npAL3mkt+V+x9SFdZfC/x0cIUUB0aRdK9rcl+APi7tv/qMWD3jnxarv046AXAAT5EjtLu58omE9/odoz7szV4/qKUKNzfVJyg3bIggnMW0OzlwFVVhuUxM+yhRwnnImMoh2+WLCK3JmkXHuJUIgAKlMkjIeegG444R+pXkjNMNTJsLAUIGb9jJJcUYlfFVzBlqwDIBRHQnOaJfr6VRYH0Uze4XtTCOX0io43kl+76vHWdSpmlyyuOBk4G+Vj+QWNoqXPmJcY0tOCEkNCA+tD3JCO5FzTDgb61XK3SXTIy3NBEyot/3m4fqRn8mZk5SR+cQAh0O7ERFlXUtPfJxhQPr9mTv3IJP4mRMAKJvhc4gaJwwu2YwmDPPDAx1DSwtFTZpNAPruKt8yTePo81OHd86XIyLyb0MPttIKE5Bm8p1ljcwwKS/EDCnReZ3y0FfxIj5cMRvmnHPemLKS2S+Nw8fNEiB33XKrLeMgdO17znhJfjAM37rtYTK3/XC8iQsiBbgcpzyQFac1MO4Oi1H/FvmmwLZWT+ufZNW8tCeDJQJR/VxSyAHjZbe13PJ1Qi8TmNuACKj7sFJfZDEHJFA/NHUZhJbfTRgb3CJeZtI6MofqEkEhCUHDBk9BDwa4iI0Ygcd/FQT9rOjimuDBV4asugeHkSW0d6SG/4XPptHmuL+jvgQIPZQyurnUxS4fzHdsxyg56ioj931befyzmkchSth7Ftg/oVTJv+G8Xrbn+T6wUO40qBMTsK41ec48sq2SS8XyQl8MM12kwIMiGpa60LVtjCZ/H/t/vLepyueH0s9JaAfa6enene0RYnJ+sgvMsFgSxBdtzmA+Fc/saxmLb9A9aP4la3oRi1ykv/tb8nhtXzYbNkej6JompnGKSsAXjeDHEF/73tVslUwPFRhq4BsYYQimGhgymktyvpZPRGviQbqxcIVbtAOFbkXR+Y9sYKMzyVF8bSg73JdQ8I2JCKOGegUXMg7oNw8mdv3ToO7++BoBejxjVPt1cPp+cP4pcaEDq9VrYhsRj+DtjMrEd3n6unh0+mnu8zAMjkkY3IwREpf05eCdqmHsslJ1MP55G5210ukyBCo66FeLFkMn9HeshqMbAqS462xUxoGBdElcVd3RarxokE6dw+SZrER8U7Osm/ra+W2s5SaGg9Q0zczlq8r5wVMGUXNOrWbUvCe0Jrdmwa8kc5JFVLX2SPFaYq2StnUMCl4G9aDGRojGLAUZi6kQi493dyaF4/nMRtiEXpkUEwOqIFBExc/j6wTU367mGsUiX8iz1HwhGCyAV2V6b2d70rkzSCOimn7wM6ri6hdSiMARdCKMDEl+vEFost0LwiUnV9JhYjuUJsEdSN6xj27RxOYke6ZUP/lIjbqtsDWPGfaGVeCGHWW7ubqBBGu1sl78CQhutBGUasqwx5k0pE7FPqLomhcn5vD2SQFCgYPyecPKysZaimfvXYtOMNLLd6eWm3HIdXLhLyWcNasnKx9Qe0l3DOO6/cQxbUd+AoQErHYlhA+LgJxEKncJwkcQ0xqIiWsNDgLBJjrHt+Onp+enjKxfElmbmcX3TB+P/Mhv6Hge84J8lgOVM07+XpgH7zlNawJcS3re18IZBfgnPi+tu2uhj9JyAAVF6rvCetntaJHjRSP+jEzA7sfOjENvKHp/GXpHLToItOUdBBsCzY7fSCYMk3X8W/l5oCoIyW5pOOTcFwyQzFBKcLTpTNmTvbNSVHzqpYcijCU0XRZDtFq5g+Wbpz2tWVoyZf6+PynpDYdQV9zHzE7eH20cgyXtm/YIB4+yq1Rl4M2lUa/cFjgh7iNgKBh9QBg5DFmj6V1VoaBecQP7veZi+9Myw2Z4ujmHbpowNdKCh014nvPzLJhrfCbUWeggOQCXW31VmZBTIPQCpVb/uCCQPR5agqvxJ3YP+esasQFVt12gqFCZPmPd153ROzOfsoIOXH84Psd29YeDMPBNJ5GyOTWuz0dDIoNswFdgnX/laLIGpeUiaH8231AuotXX0GttyVVQRrsuQBEegZXIOpYFs/aBvbab4RqrjgozCUUlv4voS6K+M8hXYj05nUsdG3gmPiw4sv6VmJeStYrOUJew5nnQv5g0rnC+NO402khV5IPCVUpd4ASpDOWNYmCy46uW6gGo3+qA3u+PoWqdRL3GyvjRLufVIEn18HeniY+wK+Lhn0EjC0HYpOwz6b4+xRJmu5uJGkaA4c+QEkk/9/ZZ4l3CBVNYYAueu+SsvtyddQHt0eukefttxloX6FV+msqQfNvyiiu6HlsaCfNuBr5JBUmncpE6amSL6CQuIr2Epw+KLy2DOUIEHO/du/56R0Pg8mlpqovCloGbAzrvLYhmS/+uVkf2Wi4KzbOfwGg+BFVOLDojyWRmqkxYmmIAcW8qFyCxw6xTKSpQKA81NyNQKp4z7Exvex8rDI9VJfimDbs7uqvnaCQh3S0Flp49B9NU2x1J8qi8n6OfeMGUAd7PqpWcWYR7HefVBZM+9ZwEkimKrmSkCgJh9f9rbbJKKllmQ8xUrj7/ix28Es1dLkyPHa3Y2Sc0ZGeWkIKzRnAARGd43hqkGHKCQ8tHU5TOKmnhC/WysffBnKdJiR+tWVumtV0GRUeEjnl4k0FRBCci6zP/ADo3RbdQ5hfPuJ5qN82wUyvQdJ+5/zHxdyOiBrXO3nqRFsSZYP4reiGozLzQnUbXqIGTj1mYpHFPoa/ykTIh7146gydT5S+yeSr0PDGRXDr4ubBvzUdFHVWJ0Qsw8D6NZvyt9iKlV8XlznULHB15X+H9wap2UZYAh6SD5KysmeVpq2QN6lWDN0a6a/vDX83SZ+hEMxi78XC6g6P+U0vAV3CEMZT4X+e9CzEl3n43QY3bipHvbdgxscYOkBbcIzPZgRCsjviItKtIq4KRsK7gs3eTee0yrOWzzvDufUEB/jSytF6+VWeQwZQTpxZkjpFCO8ublnHNGVc16Hjgev9YFK6TnJf2wFY1Fn/1ARLDd0iLAWM2q202Qlv0lTaY6GYY8sKH8dGdRwOuBpgFzT485l8FDJbjtX5F81fupUjkIFImGTCkAmJjHG1MFHvx+MLOl7ZTzY26S6hazsx5dmXDcuLLQTqLJI1Ysz2acLNhPBP/uskBdSfDmhyXA2xWyIOFPS4i0ocxok+WWjJXvSt+7tlFcqCMY9FhOT9smV54oIRoCmFrFDeV0Sr1m6XJeBWNoU+UGTmwAbjG3ImECL02rOckoCQyYONgKZv/5qAgUWlQGdb+dIkwfra+Ff8j8Y+wynl2JP0rR3mic9npje0NCPdAdXv3Yxd3Zk+POAtyFmLwbp8KfXP+pRq852JCURNcSk3dh0gexPE9JCb4RCWgR+/euqX3tCGhPzX7MrQMq3CdoohBqj64DD3+UvwsxM5bd00zb2dwPWPAMpk0Tfw53JyOZOGVLVqUNpexUmSp+rWoIGrGUFT+GSik4PNKbIV5FVpEPMZ8/nZGkh1Y/51rrW7JwJ4gQKpryb/7M+upOtmnrhAPzJKzV0RypU5c9pKSVhPOBu4GP9PeE4kFm7x87GqLq6P9neuZZzgADzgyunyFwRDHhKVie7kKDU1VTzmCBYo8lC5d6VF/ZCfnnNe9Z2zxFEyrkjHQ4JK+cXig4nU82mQin/2BoPcT7GNbvnDpdWsETg8wrMSaLoy4ySQwCtXMIPaCnItNTc6EXF4dIWGiS3KZFk3wcWgZ0RR2iIdzYk9PZ7wT6D4Xgts52nX7UdjBB7uqjC6yWL4tO+doFAlD4qAwznnxao7CHGc3EYLT29tgEJ29N1WtDWiexEbB4JEWLudhH23wxSXy7wDyj6hlI/tr5Uh1T+GfmWhkuNAxB8PWf9xRNAKY+X906J7a1rJJ+xu0iBG0VTIw7ckmzpiF2R610JoIKccTiIX2UpJPoUEbAGqC36vxMfZaGj6lUMLGLXhvldITPd93033Si87NQ97FlXnEhO+KiPr7dZ8coJzXUccAET9nPLEqzE35X9CoplPhrIF3RMyqijGdA7NX4AsUv27AOs3yj9sTnXXVlNKRN5B55GGWj17JgKfAf1FhWopYfPd0YOPgRm6Fayickh79Sfy5ygFkfwYO9gca0kigL/cdgG3EMsrtU2wChN52cu2LqB7x52caLykM9cyfpweLzPSz637xIR1FZVSDN/0B6kUiXLE2IhzmyAq2kRpnsp5Xu8sTaELAEgnnSEXqs9E9I2KVZZYy2IByipRHJAEjUMX93bxfLsiCmZQgaQt2QAFLC+CeBOSJhbRNimv/1v1sMfUcsssTsRZBfchaXFJhDYjF139Bxf3lp5ZTKgCNgbsR/xqxPTduPQm9KrLSLuJWcVN7iekVDudAnJa9s4eO+vJN1BFY34GJZf+WI/kxm1CAi5A5oH7Bowf6ayw1/CmUSl14X/D2/x4rD3FIKAaSh3U87Jj/LcAvBWhDPZY9f7Kh2c5hWFilTWRd2p7q3Shy0OHrURxRU7+suo1GCnusS2ydMwry7CWoMuEMokaScFwD3yjfUm9OZ/q7ctyEEfE2g82AdG1olHgwbZVo5nh+NxIiksGjFlglmUCFKIpCO2A34UbxWl4iVVkHCUhtZUWKGWsNa8RSpL03jsHYFQD6IlFczUThUxESEeo8/eVwnFHP3zP5cVymIGh7LZMbidL+Tkj1PIYkPUEkpxT1Fc5ggVbR/z4L1D83FLlXZScjk4PDUvV5B0TdTV1mul41PgvNcOnjs9KVkryX8meNMutEcYzK/KLxJC8KRXPXzoszDADk/8MQP39Nbg1H5iqtZA0EH6dS2QtUlHCLSXOJay4HuycLslzYmoAW05CTt6XJ9Jvve4SKXSmdBQWHoFri9hP4BKWkS8l5kzPFVFx67n3X7ThA0cVLvu1KxuOC01aqDOMTF9ZJFdULd1rn28iwWLpgOgRSR632kMiieiYg//LvkI3iCyLJKGcXH4W8jmMyW2z4FQgW/xKmLLneNRKkdE6hSk3hx1dIOPRJ6LewjL9QhhQo4+khacf8LzxQCyJG70camiJWjEt821OFgt9bO5KKzyL7dFjQ8wLhepM8G3VZ3KF+Byg0TC1+l7tFPwn18Rp2fuwS7sQ5+gSyY2IptanlYoaTURPFKpa8PfzjbKxhmuAi4MyBGPUqY09UNQeCt+76aRGexm0/u1Tamq98MzyphbQawYCrecuuCQ9d4Rz9WFDWI2e8SKUbTUDC8CX3TdvA0MxkZGTTJPQ4C52XvZA4ZDsbuOYTeVsOP1yWo4GW35Q0GiMtZlBzVSF/+D+bGHG17S0HEkDZ+tRtEvWV1WfRAw+3HfbtRfAFviTtdCWxBl0BzawXqvKcprc6ttEXcC2PJY24NLT3iZXV7hpGupugS/nd2B5t8U01uYuht2j4RQ6Ec/TPN9nyTlSTzLFmN/Cbl1K3zsNbsdKdwbeStZudG+HdwXILDH5GbXMtKxvHH1XBq+6nQbQaAtAcZNhfgNlpPlTZf983NSHshWSDbvTrre7+qv8iz3uUxCCju+SHRYhrXQDo5+aO7mFz8bRl1kDa11f0gkUKp/LRFX1xlunq/Zi+lklPNgtcVdHNsCwThe76a7LQZ7PpNA0YBAM1bUcyck8upolqqFrohOEDkU/VYWjybT1Aa/c0DFARV6VD48czVUkPT/pFS6G3ZrToawU4oAALldUVQ/4TttqtoRPXIeA7PTH+zeMQybCv6aZ+DVk2buxCNB2I0MgCh3wJYgtUNsTorKoGA+/ojNA5OxcflXEV8h4ft90foXc+2qD9qRAqTLRAOvc1tU3zovzaBpoxVByg19wn8yP8G57UFCgJTDNCD7piszCDCN//uI1QfVILCOTs7kcb2u2S48YS/3s5X7FZGBwPiAT5BYb6ay9VrpDMotzpskdUOI/DlHrzZupORj5N3bmdieDHIj9IuW6FplEeA6s1sxoGIXM5oMc4KFdR8TW+2croig1YjULw6xlc/B4W/kQygC/Ay/mGeK3cuzTNpYwkiv2F9aSjTIjnJRjDvoDQ/ksecMrVLXIN6nAN2mCrmXLKpUPyvCxwbQBQ85wDkv81+5SQXHLRzHhAeayEi39tzbieB4IBlzlTn5MgrjU/FK+0o5L4WT78fbZbspdxa+A+ajSuEixlwRBiBRkOSRLH1mWPMdaOF8DXEYNYIEiMkfcc0KSsyzNg8exAD49DX9wS0naih/6zOqEwxi+imTnXfeQuWk8A+zBd0jG5hwatRXMP0dq4LBsLKGh5ZOYMhQgcjm4XPwts0JwHp/deY9LYnD0zXpsAgmS8zaqTleq/j5YELuhCKFmHQV/5bieD4VfcTj9jIqsKPMHPF9QXzfSM20/d+96y0uQ1PtL5hkJKDnwfInMQzYs/4y9KOb+XNCQZS1+8ja144a7/8SO16M6m/msOeq0F53XL8FG0/2FLSnImYG5Whau/0Ft0q+OhlSsbB8I2w2KNvVZsMyAg6MVh194whjoqsWluTtxRpFvZMe1ov4C+/9WWyqBywAmCd91UiEyJh1W/lCiPSUYxe2Q+alxGXKRI2UPJluKg3zBrOPefEuFjS+4SVr2NgGSORSxVnpeGVHmDTfCb+zK/5vqGn/tg+I8fe9onqJnBvUkeCP7yU4+rze65gRspo9JQqFQNoFuei6ZUcJ0aVF4Tg/gxzYYHxNrBSBQ2d4ihfaTLO2CJsZKGs/CGJnFRPrP72s/Qr+N1wqNMLq58nCckDcxwgRdZp0oXGFYT+RK5y+aQXLlrUsRRnJsJhJ99aXov5xfkPTzY9RTcaXtQ7NZjVlZirlB5fk1GplhcPNVbJBnV9QfnuKSRXgPTb3C8XUPM/7JM/KI7ROnCkifXK6OcZvt0LT8gd1+xHGqIGNpR2JecR0XBvEa52dGnmmw5Vagefoiv0wT/gI7/XbPS6aI9mvdbtPATDPPyeGrWTaRpFynmBX2+hUCNkgnC6Ci5MNtYYUffyIzXL4UCWkTnadn7csJnpo3uurCWLkO5J73sb4hNXgLbJXc0S65ev/yJqROHjyz/ICP+apsKDBM1FyjxBVoDGnpXNZanAtUecfYAQ7hAuaHw1g5feT6TUGt3F4SHdnoB7urWEECFBNlbZZRt+bu+yFy+ZmG7TZpwNDEt6Y/v4YEmiXpFe0MK5V2JkuusHldJAESaYErKT33x8T8/DhnCRMaap2tC5flCqeSN6bh3+FfdkNG2n4MrEh95EaQdye4lX4I8X6Y281sOMcx4zwJrpJj/JrYSZaU3f6q5xmEuQCcOnKmvTlFjW5zYl79L8Kd3/lEfRSReRPUCdo9Y0ooMV+/EmqiehTuODysOu3Fqa0NoLOPmD9F+Fb8O2+eQj+piMh56P2qIlDB69qkz0Rmbm5bWeAKdyXQeJ5p7Nr07MNpxh9GgIDZJ9zyK/FMNCHYIu1GrhCG/JIGPmV+cZX0VrahX3DTrqSkkJ+RuY8AK+4kLRXSf2GDIMI2GTBFqPgYF8HX2oicGsVmemLwcGk0D4JCH77VGg+N8F9J6YpjKajMcDywbrg+tXdRA764XJkFeqXRwb3dhkocM9MI1LHrxsTYAh89wrP8cbpHSqEc/MvM3X8lQK1rqjG+kkCiS63LZr7LHB8GQvnwpqwzgV/7UqDr75pZlxhDwjGxliieDF4yVLAIohgXh+AHiJGXOFq/YqdRIuqwj3FA5cGo5uWop42a8xPhBXToNnp0FuDhUjPAXA+t4BWAFqt6RTGelUOFrIOggKL24/lP/qRU6ktmrjmj9/g187sQ47BYuf5ZOIS4yetXojmxVxftG/nl1hqFOLH7WobcplhWcJY0VOBEGQkWWu8W8Bd3gwix1JsFlICZLKgipSdLtwPPG1BPSimpfqOFtuiimdIYS/eS1+ChtOFrZW01LWbHDgNpHOyVHLWroYcUsFo2AO9MmBj5mj99C3kpb1ubDJq+fMClhu0/qghJONCe/TT0RdpXEvArBAtN2WPw6g0LXdUDFNKrTLV0XSTu088SH/JJCglw2zrGMrskELmw0dG/Kx122rOR8qbrseSM/kYVu5vZqY5w3HK5xllY/DWwM8/enCpogbt97N8WoQ24XjIrxe6dxbUYHPKw9Uek7jGGWVV26yCRtGaVgD6OjZKo+y5SrozKYH/kq0qpXpQrqLtv2cEiSLdRA51ptB/xvTnbeSlhOkZwsSOWgJHyxEOJjGx/9fqIM+2w9fIrOVfGhXezEWJaIDUQkeaVpNxUU8d6Gf3zYTn4mL7+1cB/Cdipx9bL7Hhn/wUtabAVgI1QrpKqQwFkgVzi7tINfbbrPuqj3yW5Zu/LEWqgg2N0qMuj0ZuogEBdkeKLXT6vva22B8fw7qP4czdBplC6wkNDtcXwUejHeUU4Ai/4id2EyfPx93s5Zp2vL6Ol0ObA9xyRaLJ68o9ijNWuAx3syQa3JTsfWItg25fGDGv6LIsgzIJCSs10dsfQsfiXQbTwA7fGOX4h29TMmlrnhfbN/AjINMM36Wt4Tj488vlHtNfTorJZA47g4Lmd+D0S6r6mR3cIhRBKglTZ4HbjxHx1reyufh1gtfajDEU/pOUjcylRxg9R94HU="/>
  <p:tag name="MEKKOXMLTAGS" val="1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PICTURE"/>
  <p:tag name="MEKKO" val="MekkoChart"/>
  <p:tag name="MEKKOEXCEL6" val="False"/>
  <p:tag name="MEKKOEXCEL7" val="False"/>
  <p:tag name="MEKKOEXCEL8" val="False"/>
  <p:tag name="MEKKOXML1" val="4HooU0THZk28POP9trq+pbTvvzd/gcV8t56cq85kb3NDTsUhojRA0EsgEHHMH7oYP1SYpn09ysXVivguJdhTvfyVMsBLTGvcX7WPTor/CmXfOtOhH41qEIghVTfcT6o7+LHxt2iMj4vD/tblS6qzJ/gMcPCGrbvVDHAA21UQtxjiIUqba8bxYpIy0ufKDgD5XDCDe+RVNlFbJpcVRItRb19Hi89qJjTD9ipKC/dBBdkNW3cqqxFriNY2B7W3+bXVxpcBJ3WxE9+VOtV8Tm585I32tmAWsi3qBeXb5MtO78ZlEar+3ePvZm/eKkNj3/PmkC7+73A7e2tVVjZSW+pEyY6MjjSb/fYuKUlYdpc2J851EWCgPDEiElWg1WnTjQz/WMaup5Ox8HzXdYPaLQY02tr4lIE0usFqpPEw0kAWDWcYjok4eOt9EVw073UTlngHofjai/ToWfbOdqm9oJ+6oBsKJmgHTVcOIle7J4AIEpuHvG496en+iGEM42uyGNLEqbn/rPWm0HFHWjW0Im8qDo6T8JJ9MWVWo4V8z3dk3rdbfoA2HYq2DBgvzZkfLx9gCBRe86WwP4H9AdJdrwdxn6062SwJZOuuDM7FKpom23pQmAMT8fVEQMZ5nfNHKlsxO32tA24iC9KE2fUQHr43WCNmPQ3UrwI9v6UFRZaJjaHxr01WyN84IaIGAZGAhvotQ+cGVocnPcLjdKmDHgpA9rhuVpmOTiCpcCNFBvgcsG6Ib4ANMZsQKVZ47CYExh19qoxwWNSPo1YIIDHI4I/ASIu4EEwTMbXhFzEDEOT/VhWr8+8bc5m1iTZwyQi5V/Q0v809OEI0PpTK6Uuu9K8tNZg70ktmBWitAuifLIZ850dgWGJyZTfWMALVQrZ5+lR8M1rpcrfSIx7r9r0Ys44VTE8UZ5z9yZ09DkafpeluiUVTt4lvCS72fjk/07CCQZbw7KhJer5LbcO2JTm7+8AeLJIWFJwSuGmJhnSbw5gd0lgL3v3PtOf+wqGOqxi0mmw3xjqeVj4h/QoWtn+hs7tvBTKFZShDE0AxDgwvuiebdAdMXcoRUNmiQuj4wt0IidIqb+d+4frMlqBTVajvW0HsPpdnb770vb4xXDVM630EeVrdqW4bYdm2x0q3+b+qP9elSlWXmMac7baQq5esLVccYY2dyOezz8sY1c2eaieGhhZIjuJabUs12zoBg8lSki7lMrP1U3ni1i0Xhltvz0jYyeXyaT0U/eajGr+Om7kiWBVU8FWYalkdu3nR9AF4X52WIX0zBhqu0Hb+EAtTPmJJhaXu+SlQ2Gyydsbjiu7vEgq2pT58ItcjA7npZg0xrxNqH9W9B4vHm1vuNQ7LrUn3Fml59hn7JKZaXQ7f7RhXyN2+VqNdpe5WEnANPQ0FnZWqjkTBx2e99WUypKj5Uj9UAl/4deao8gsRReE+dZZlkStvIBYuKYzsJ/dF6AVekHviq/NWXCuKzEHYGkdNbGKoMhHmMNTBYESwwBj7QrbK93p90Pfg/uCHGzz7neKbB9o0KfF9/ZN3rIGL7JFsXZ7IhuzjXEBgZF7BeaSt3HzA9eiitSEFqA3T2a0w8SS/kilaY6BliDzvwvws8bwOaAZIYAC/uF0b/11p1J8xWKYxZMS11UdRFFVdqLE3JsVTZeTiXY7iQNBdetg+dR3gV76TI89YUcg+v3OVuVRDZ4WDRhgqPnRXNleJPUPMNdJ0/YJG17E1qWwQoIjUNzbZsSAeZ5epgbynL/bhID5s7RbEic+13zifMCGAHklvqgGzAt3+Z5Rus+UutYvG27RJ26tqW2gFF1o+GJ0JWy/T70yod0qfc8+349gm4Q5YBWiL8QregrtyxWsvdPbXqsMX+kE1TBcgcBXp2nGsRVMOvuI8XguseXS1lbzYyjr/Cy6nVg+vmnbIRstXGHiE5O+UaAi6f9RrCOb3waKOHzdRaGzIeVswut9HmOfFruTWNzHx/gOhmY475o3/ZPXrFhu2IJmXJnVMxAzg48QBbr3UcjMjV+hcxSOrRgqyTKNaCZksWkZ+gMoxJAsWRTPdr3vdvk8lZ+UKJ4alRqNRzDEfC1CvE+MznjMe6zbzQXOGUZulSITU+CMk/uYaR4UpzDyuRCpBiQfJIoiYxyDG53JEOwEVYC4GOK3vjXd0TlhLGnED+rRIb2A0d550EwrjD9MF7g+Ip8LuA9x44OsFnugBOFOlm4JUHG7483XgMEiIDPqsVrH3LjdkmzWKKS5LC2IFeorhFWzp2lM00C2Gcn/mXUd3TESSIOXOif2mbcTPgsqB1iBhTcvS/DU5uQ05wHY9vATGXht+yhxpimfdF0wyR8di4Obq/4CMyPa5t3/qdlu+0wmZcw35+6lJLPUGjqBxDbLfLKjwqn6tnzAvUz2aduEHjWGGne9HD/7hsVe2DzuFGxntUjmQ+ZIOIFdpwQ0gzV8P0JLeYGBKQKYLTOydkrR6c1DqvEaAG9gYqTA96BEcb7Yc12vOycY/cUG9ly87j9RaTC+9BeT7Y8Lv3/wQqtPK4aCiRMNxWW5pvukDVnVq7lo86pyCKpaAloY5xZ2DlavY7gVySAhwdKcNA+QxV/ATymoFMTNOyRMiqks9ED/4TqfKSop+9gEmPmqNGRLzRiGtws+dR5G1lyKbH11PtgTm0E4rvC/Tu4olOYsBAqXIktowBXk8MPXn1i4LcUvbMfUF5PT01Cr4zlNegqOzym/BlpQTEKOwajkN6gnxgqitrndz043fs8bYcwv8k4sQQG7NDdVQUNinWybpgei8DRhqnQcwbQuqVStbF21p4gl7eVKGY7/jQAxiWL6HdfC92bzZPAllpec8tKGR0YGrKwPrNbtqSUJh8i8KYed2aZ9ohoByqeqh8yFVxQdRIsPZy2B+XQivJifIB1SVJRtPE4bI4b05rL7s+MG7n44NPHQqFmabUCiHhmbynxQ2F1f0OTCzlmrA5I2fm4xmdaaWpTBu1poumoKCVtwmcdRdf+z76yoqr3/aHancvZjH9ydkoM2Od/cBfej+EiiPBW6V4kLrWERCWY5S49K5Sfm/UR4LFPodSPvAWoFh6I7JrvFC6g91H6lyXHHuoew+4HdbJXv9QPQUJ4dGKW4N0vH+kNoBFmveC6DtT00KoRneP+YzWZH1z9GH6FO9reUDDtQ0ZjW7sy2yC3C5UH9kyclY/wTLRW+8JJ4FEhAWasLMpoKfMYx773NWX5gQrQSExZttWrR/LkdnzCM8KppFTqYrPxuBC0g9MN9rWKlbSkjHXuOeOXsAOAFpF2/R68QhpSh9kkYs1fkOAsDN3ntinQMmLej1uCsuewK4UCVO2Gh4Ei9VUWMJViK7nz8kmqwtBAEhdgLk1lKsoBkFEnCXBDkIl1snY/TUqTCazxj7xuzwDtDvZwRl08/wYHXGM8b+car/jMO0yA7i/qwbp3DnXGhbBR35oSUNtkwK/V3X4+aG9z+kAgf3DKYGItU5RcqHaG2jiG9uAenjk2dm6WdEdcuIlNRchwdcJqf1IquRW6iP1HAystGukA/pkelXQr3ylipRz0KDbIhTqXGakZBYqtHbZytN4ExONTKa8cllptSued5kkZGXTHFZ0Tim6ix0WynuVR9v4/wxivIH8gJXrPBDuhyn4Pbxss0NHhMZv0D/eVcGRgfAY37Pgc+2Zq59V1Bksm6wfhc+2Biq0rh4n0cqS7UQ6onL40HUl9R86UWwhZMK7bH+1Jsj8gEYudP8dyYF0CnWhHp3eG+Pa+Pg0liy5Q0O/E3i6RDkwXpVF9TyCKOQHEB9VYOZujz5kyGSteu26464jmZm8G+5QZTEhKigrI9fjaLGr84+2PKkxqdvStxyWsS/POo4QVO7eZabm9uLre3ooplzT7OJDGs5GAvTYEHxekTBnyPQ8F9k1RLCvfJfyWGQ/wdHtDREyce5XAMgee6KPsEPVm3vFEXzjKF3khIYYab59LWx8OSr51M3Wd3BCOlvStITEyVxsxnW3T86neC83/lSW52o5/c2fcMMy1wG8xTj1Zrxi8UI8ZbQNlHBlT/REEHSevpkFEUf7XoGr3NKT8lFoA6G599Ju2A16rpOixQRFwW0YWIEwIUhDG4WI1NXNKRyYBly052UAHo6BDw7vR4H/mFH0/togVLdIldh3przPWeqAiRgtmg9nXKeTEcm+OB0mwFiiz++NhV1+i0mko6nLouh949xNvg9TNHc0rEBMkaJPGe6CLjdtpqQqjc5bF8ca/9HSv1SCaPk3XIUVhCqT/hTvnCmtuLQT5NLjZDlMJIRf6SHL7nib3QBFsFf4lhYoKG001zjxF2PxV8swEv1NwPyCBbJTnnmV3bDjeL6otCCtOoheaWWtTUbImZxW1t1qocgIj/ztuAG2Nbx+18EL7i+OEWWA104TrAq/yJiozhh0tgUv0XsbCVjfR8e0Ay/gAWhPVvBKCGcGUzS4sOmTGywciQ0dwYGzKiRjdZdCWV3W6iMN55+bXFYWII+JvxsZCreU9/PRSzyvaN8mp9JGY16dW2SciFGnG5wZZlqtQVjXSw1+yyyaa55CY9k0kdtkzCQBruXXXQ2H3CUBveWWiC8ly8qQ23TPwxvo1C1MCgp+jq5ReEJ/A3k2ThlBf3pnduWKkYNRDru8Z63SnMbvaRWtIEYHZ0Wpom2AtMYhJ+bzIjxoP350DO9T1ogZ2vbi6yEtF0b8KR1hDkZH3IepL6S/5O623GgCpJK8fKLpvPPdReoQrIZzW9cP4NfdUYoh/J8Ex2SdwTrVtzWmja0juS6g+y/yuX2dPfedYf0AXNiCSO2bvZzBMaSNKeMW8h3DjEH8NdFP/ldnX9AIz/rtp1f5oYjsiUXfbMo1WgY6RkLzTIeUqzESyyvaclscYmqD2/hZaWJSyirF6+rnYUbvQJ1A5Cb3pCk0M8/N2JA7yG7vxqorFZ032XMvBOG7Ut7IdAcF6PdhA/YC9Ak+laZVrua9CvJWddlM62OKY+pg6/vsKSOyS5rBSgZDLmsRiJjah5tAgG0gj+XyGQ53wFV5Rjjr2z0slW+yySQ628Y9lnzqWNOp5a3fD+CKIPdiS+mZv8R+Z8Iyjmftinl/ecGanHoqQfJlNsQLtjolAVzPPvCFdeKh/BPcr10P/yVq4TAfvDA4m+bK4sT/m/hwVizWEQVvxQvEm/jOhBzPNr8vU5rIYdRklinIHEQwc+tILCaJvgpdmcfpbfSiqCW95ii2VSH9J3WuvqC54hfAG2toTdC6EKIGu3jBVwHORf7VZ4H5dbI4Tn9pt2ILlzVsSaeW/iLZNC8Xz8JPanyP+xQh69BlMt+oRf2tdt8/zVrGdXJMbEQRyVRV1/3pFXRlv8J9ODQdVbe7v0Z95dfac/Iv9qYK0LRQghkS1RvbaDLfzWDFBsJP+OC3/FeczDO1XlJhQCeAwyEZ6kfAxu5QSt9tGe436T7MRuKC3l7wHeOY0qq2Rjue1L3yvbEdFYmi1y2mEnU/SKaczsOGMWI8uIfkxCLrSfD3hK2AvjVHM5tTdIIZlJkLNnshhz5mdzfy+xBrJ+4y1JnqjrmjqBml/k2JXfYYPg9D9kIwRxDSpzq4Avbdx9NMrDqYz8t9Oykv5bP1pQyv5scjXQdFfrvp8T5iSu/LCKoWvtRKLVJtc60na8ZyFcphcmG5Xz0URGfclgM6xV15fMKEMd1bFo4GOABgexspgdI4K+wAOr2qm6MMmBnkXI7Rq5RJkzOqAEyBi6PWE6j8O/UBSiVqmKDjTjxq1VTfNPrqnIFxxNGmNcDadqnfNZ2u7xEQamXsgfUxeormSvfNm14aY9xi6dYePhqShNe10j9RnWNvxA2vSVsJCW5it/pNwpicqa3qqan1hU8c9TNx14OxHqv2WImjfXTNE+w9XRkiiqT6rJZMYJfYfWhQBmcPK6Ls6XSOZS5BLCDn+CdABnD6shYv8+ElEuDSOtX9lJ2jyymUQSh4dVI7C7ZAD1lEGKhiCbRl0ns7HvQBsgGf4YVIdYJDlDxiKgf5pWv9/jRI5qkXuTjRK2tIBPRgiPxAzhi2iTpp4B0RLEyWziP5hkM71jRnRHUR1OXQYFJIfQiom13YK6xmm+l5eqcydSSkS+Vh6qUI7pvDWMHFmkj5LF41qGQwhSKv2ABca3Y1zqf/oelYJoTVmkc6MLjKDn8PsfJcbD2TanHNF0OjN+44L0YD9nVpX13wUcBZ09GWcfq+drbkqA5LeULA1UAp+kYU2r4JpWN3ZpE7PfvWP0FHQn/dAUc+D3M6f13/mowKazFM5emHd5Y3gvAW4LYBeKzhdbwuwFR+kiJiYzoBX7RAijug1qEm3kFnoDViqEI9y/+gU+gVMiuykEXLOLg1JcU5u5USsnj39khc5qxV8hN8BO5mZjPWNJi4wshKYoVgcZoN6RZFcjjmVxu8wqzVzWrhUoGIkQCIvHyCgdYo8QI043Weye6qlLn0UstwhGRfOLPx1cBBTRsEQso4eviBcrKdwYebzZfoEmRcJbZN+Eh9ApFKQk0QKp5v8lDDrVyEFyuGk9SE4YuYpJGktv9L+Jic2YdOBv+BquesDLZMvHGX2QnmZQpgjOk7MvPwv3dTPt5IJGe6xosRhXnmMe20QTsDbeMvMW6/XgBA0xHV6ocfPXi/PvbYrAmELxL0dlkzzHL/EC6mF2+8kPPlRpaQ4bnqwqUlqv4wJKTkjovZngoqHDWiSPcaR2MIx3A2huL8TmvfVQaEozhlA6oTALPDQmLTs5Ajl6c0ad7bPh75QXWuhFlSIUxhdZZwlM4r7+nQDytzu1W1C+cMvIm8gowr5h17oxGTmjFJD5XAy/zE2eO25LMJtFCvAKepthgaD0tnNBh6wN4d3KuTR4mC25AAJJeSu/kqTUJ/H1wSmz/uQ7+Xa2E9wPZVyWcQK2afGD+X5Y9tsoliQXi+Uv20fZlafyvSlMqI6dIdVQhGFS/oSsWP4H580nvjXIvB2SQsOJxf0oPPVzWoBgKDvG2sf1uRn9oyD7U9oTAp1AkaL28shYYGKBPetADaxsJCAAY2o+8VsZ1YFq+yA0CNgKzaa8zDKR0h+jzZAF24KyCRjQSixlwJlAJCaqgD+9JeFrl13+OzrcEz3C4ze7JKv2mCvtvYHx8zcwl1bNSxw2Ky3FvQqlC8lPviL2K5IoquPzfuxwtmcCU9Sq/Y5iojv+f0W8eoSLOkJA9Ss5J0Ko14e1J01zm0Mda4+STmyz6riTMAsURPZiHQ1Q9za0QPtuytcbDk2I394Uk77SsagxmFGI8O8mnuxK8MbHGoO6fnE5emrjPZsFLbVUF5/uMKShs9UwD8juoFyzB0KkrNanOoflmNqIULxLaRbc2PuoXP2ltjd4i+qdA8mT18EtNia/xaXmZQbCkpUR9ajSk3YUPiOEE3R9ye1fyuIPRUuVPhmn4D51GJVTb5y6PNEvX8yichHbdUyuHINPbVbw2PIxawPMuoUDJvogFY/vxXuX68rJZzdPC2eJhTibBM4GPMWl41YX7OuSX+ndwKTrT/kOAcESMUm3D/dsf9v4WfEKCjHlrsd3EYlN2RVKOfuryszWPbeaHGM3Qgy80UyBNv1imroIsW9J6tJ1ufsnOw6n4rhgNjGyVbFYjZXCHY22wMsdK2M93Creu8RtDyRCXJzIZyI5pTPz8KX2zN1YVkSx7qNBfKF3pd13HWucP/LlQyKNyy7TEL7SJpUbsdsdXglsJeTGbRh8PHC4yCrsEsFJpLqrLh60xVdoAjJO+LerubXDo/jS2nB8oIuMESesziUCJGBIbLwyXyDNKBh8lC1/WvVApCUeW1qXxOnEz/gM2Jl41ZYoKvSjEFWYv3bnz8CM413HTNN5tvdkc6k1X8ymlM1zQPRdcskS6zoiib2+URLHX0hjexj1I8BAAGRBI4pGeshYQexjOewgBrVydrR1GN2RTgQG6QFmqC3GdfnBQ3irEyid3fHeB8e+1amzUkrBv4pswFadVCCVJ28hgxrrZRqXoZkSvakT0k+2PO2YbLcGcbjNR4F7VvhH5boL+iRv2fIC1GFRW0N65ax8spUodGikOvIcnxD1pcj7EYYyyGnHlJwBi6EolaOEy7nLTgm34/Yfono3DAPNSLfwDKonYpQggcf0Ux9IqduDIqXOz8oVwONOU13NTQgGtEOKCevJDlyIUwQxOscXXo4B9u38rwurdCFz96cKKb9hCjthlcfFoBTFp6QkEvFqwdFj2IPoaZcX538TTRynBH4YxYjnzk9Zlq23Y/j1hWdmTMaayfVvgkabLSGQ3PlGihchU4XqXA24uvYdLlyGtrI+RfhujOp5NzkmUr/yzyJY/IBx7NWETUaf0TFu6udnfBBgIQqfNFr0FT23yWMngEs3GoNHSV+uKCd94rSAkcxZStKN8vXk5m0UO7w3X/06xzBX7FIli79JxYKrX2Ul48SXwI+S93b7jKQzeDeyfEH9fp+T2ZSHtaYOpsRbUiyDhQctq86jUbpsYHvjGcOnHbvj5D2CxmuwwCA7DlqGzIrvguJ3THkDDYy8rD7DvSAbdUenCJIcHlat7+C5srSaU67Njg1G9prB132+jubSGdS0s5oH2JgMX2bqLnmR6l+GW/aCDjRW4WIH1NfvNRUei+ncGArswRnCOe2x/sZ1tWw9Vy/NrvaA0JDmTXZnByaOjyKPZ27ROUifBTeP/nampA36yKKJoS2/q3bMQWo7hahpLlaCJXMvUYkk04YWKJBCkM4PIfEMJOlEO8jb6UubFO8MY/QvsPZKyppb5Tw9wSapdxxewbD5zVrYeI6rT6D5w1+XBpV0z9iOcynXGk/fNphm6EVLCz0R9CaDsS6MrCeDlTTnR1gChhYdTtzjijd8Vc8sJVKE07NTzShHUXOaqE62d0BgcvbQsG+3ZWIdOJLB37byhcuu3Ub5MvRO7VdyuJy474MG7zoCa6XTC8PrMTde5p2RwWIqP4GOG0sE2PrOPOFq3R8rOTPZQrsl4AY4OfOnKEzQ3qF9BYJcjBNN4lzyXRPrPuU3H8LyQsXj23RyYa3/QhUr0rcsoZHNPAW9Z2pQDkeoHO3eCDEg+r0q0/uo7fY6/L6+cv3Y4mpuhkVG/AbmGY0R/Cw2SxUiX41rC7lzwdv21aOTAUd2BB1ASryfizum01q6IZLHI34GsPPmA5CJJ27n+g7W32NFFLu7bHjN8jhujFJoY6cBxoo/Dr+hkauxJhsTFraInZPl0U3KnfvmtEDPEKjrOl9WhFDv1i3vZdXFiAh07tevOT2RQa4BFz5i0Q1Ad6P8SxdYFOMj7poJdR0Vd8/FpA8jK+ybF+rnMrfsRI2MLPHWWXUkdrk5c0IYFR6yMPnkhw7wZfGsdTtusp0ORbWlJkR9FM4XWFYeIjTJbLOtp9nvQSWwDNB2eIw+zb/OBfDrycYHBzSgGCN3FVUHIw9W9PblmBZnLG6RBbcTw87BQL+FI4RDDvKELZhhCB48e6foVpx3ZHK+QX88SwttAOozKZAW1HNMHMJN106SwOX8XL/0cD4vgCl08WaRCmeWSY0LPDR3FreO+B6eVrHROEb8O2eGWyvmJFnlw8PD9Q0oCKHeaOMGSuc/O0Jn1ntgu0/5wYhrPBl6gehAqkiNBhA4T5v63QD/aw75vl3VZtCzEMCA4sUhgJaVyaDYx2G0LQEb5mCylT//zvyReMxK77nyHIt1DWby3MCxDQW+CZcc2cKfkPxfkUdc4PABAdYwG/IZ5GiWrucbjwkMkqplYGaN6yDoNSTdBVHY55IvpW1+Yn+Hla2kj8Llx/yIeU1sVHc1njTj6rLH6vwSZQfsRK/HPI9CA0rXYKAjsBCBUa/NSA3AH0DGyCmQZBPgcqY5TEJik914ZdGpbFAhlaIEgnopCBSIkLvFUdY4YzI4BP+4vokavJuSc2OXYr2pyQAW6ELp9Bf6mPx8y/K2FztYEiw9H1oJsglcFCNLWkRixNRU2XNrC6vl2b6TpSaQE7AraVZ+hJ0truR4YwxBgZslfy0UbqdadaiQ3yVlwJJjI57a3MeXlceNAt9kVAJwjJd2UPI5Ri7gaajfOFosCgLfaye2NIQOZUED8xVXidI9n3aZcZcOfkO3k/zYeU6C6KWD+poVGpeNojpswO7t+v/krITI+D++gwF5mJqEiU3xk0CaSeWdm1zgyy20VJHqbztkJFcmo84rwVprlSlIWTnklh2uJ4bs6Sxv3InW6wH0qd6cJQAA0vwkdbBziw/mK7Qk2RtjFN2ptSm3KhDw2xMRB3mBX3CoggKz/pWFVZ4qTrIJj7Smd2B65n8PtukNBhJPPykwU0ZTEU0wkLFhXUoGjxGhfVvRUJ1l9Ml4eGrvECNkJ1YV4e2Nja108Z8Tc/WYjiHQC5wI0Q2ZqPlTZC5CopRZWKsGFmENJNL6xq9T9Z7DjXwOBfl6ZIhJymcBAe8QdzrU4mUBfn/OHZKf2cWvRNhOTSNH8Ft6oveaV6Bl2vFsDb0KmXjmDqybQC9hi8JmNxPyDxZaEBwwChEaJh7J12bwwpByiEK0IIHsE31PGIEwk4ji4M0il5hH8/hRDX0d9pPeqj+QvIm2EY7UJdamJelfkXULZEpHRJxQbgUqewdRRpakhBiZcTWIxMoZM4NVeSjHSTHEhf+vdV2wLWR3c5+NfTFnRqwOfgP88n4Ersbhpa9mU7qDCTjhMx+sx+NdifgKpyxvyFwLHYAoSYV8yAdaFL2hhuuSRaa1P2pRQoJUo8U9wuPO2gUFwCnxsitO62PfjDnOiCbYv9EXsZgMgwRmwIYl7a4zM+zB4HjjN1V72gsM7doHkxuuzqgEBVM+hmGcVkq52oXwZHyie/80bjHDhESA3FK4oLf4IQYPdmX908Eorj4hwwVX40xZFXFSWWsu4MsvJHPn3TWCKm5DvIoIsi/p2b6eTxyV+tyF+LyWPXa2VqOjxbu668Sljv8TbffEXrb/JCzsEumHunhcqE0h7ebhlIa6q41gBTswoPyJE7lWBzn9VEhj7JhkFSG3qJUyJ7mNPRWxrFCLzIDlEBkn7oTXwGpeiOLQXtUS400G5wr8h1DO+NMYRSGGH5UV5mvmnRd08F3SqFAiQv2SbMRFyVk2+zE1Pf1HTofVNvFtxHgiXW3uYk/AzcrlWjOzMAdcN3IT+jOoEzpa2DpgkYOgatEHL67VJpk914+YYdMdfSojBi4mhX05PUPHJWMKEpAmUFkyQhVbM+bs4lavo1FZib4/V2hzlvaO4yWj80YmvU00fw1N3n7V6H0GDNVQ2AdT0oULf6zLqf2snUwhzBJySrBXiVTrjCAMrZYu+Ja+8RHDUZ86Y0qDbqNnwILFcGx795xXdaKde6KDTwLCBWC4pLzaJYZZWt19eNVaNgUDKECEVU+By+FszFjyfPSqDICv5gCrOsyc81pPmK2kYIIcxyEtYW5WxCU/qmXW7hAVEWrsC46Ha0y5NR3PwlkXZm0ztardvFfF9B8oHfxQrQByuKwiRIM97sZJ1elcaNr5AZymZAbzk++oGhrGH+/6IsD1Edw4rDFg0h1tqfb8oZ+0qXEIdrQU0qgeTz3w6AGt4nzUAwk2MgJnuc7j4LB8vFQOU17BptTPMZV7Ft8OwJzBu7oBbGwFn6ExUCNYZZ53+oEQ7U6qC9BBqiDMLwisvoKNNGV7QVmGG+AehysSnQLejDEeoaTgb6V9m1+hkpQjLnPTIhZiZT3WTzzRPSLVZTgVhMPfpOkc+rfihJ8edaEzpO93RR8SzduxbA8tniIEnZkQ8Qchm4v7bKW9uY+/iNH+RE0vYUBB/LMcGZxWJIdbBEj+pHbaZxxTghG8wd4G682gW3gTxSIwgB+5Mlgv+0B3C6C6PehfjW7z1HEwwiq/QM4PGbLQ+VkVyCgwS24sNGq7tLgkI3bKNDmSx9KgseCLEE1GfvNNrii0NmLi1YT6PhItPojhJz2lZNuaghaMDCnM11eZ2R1B2CvelXr+JYiZoUlRidUJEAf0L9+gZMbDjfzfw8lfaUgMsi5ewmNu2gsBIiAUIrg6iz7bw5u1Xkiu4PhZ5aubBtweC/fuaK2Yg+0YTDYKIWaun5NkJ/Y7l3iI1bvkhQP26ODUAqMTAZ1ZwmSYsWKIy+bk2mHNGqS35cPl3QhbHy7Uzzi9RD4gACBEVcOOZlxZFxtaH12QBbEskXyUWCFBXn2X1N11t9Drz6EQdRs254BkFhGqXwXLMfMjZVtJGUQrrLgKv5jLhfqxspgDerwWL7fk1s26a+iMR8bmz6gMigdqCbsld/xHahc/dVoPxW2qinSFKIVzHZUXncKYyZUyecfVdYPs3mCs0SPlRopC0udp0AqpCDa/Qdw3l8ZP74s0vsTw0miDByI4bqoN7UJ6Q982NBPWv/i9umABHgydWLREzdcY9jDTunSxk8ohP5m0xDKZEWtsE5cQC6sCVtpGx2zx2vdz35mGeMXmU3+EbNENczIV44WnXhJ3oSRUTPH34DjHdiF5MkHiy9TIX6hOnwaXdO3d7AzLIuMxIhrZa2tNu+ReC3GaUoxuaVcneV3rMoUYjo1+i7fceBfBC4q367AdN2QR5QCmJRwKCE0aJzMIT3EXerv3v6ndV0jG8FTUNMvlHZOu8N9wIM6oQ6pmIHsvVIUefbO77E5Ij/nQKAPlxsszT0PKp+xW5jGQbsQr4d6d0N2p71uNwysZekDHtA0vXUzEDwTB63V2Yf8L43x1y9XPSAbiGxCKaG2m85cocKmhILjhr3OgAbDOLKxP7/PUvYdW1ZF0n0YwgbrHFU0sEJoU7oyP5+07Zw2vgHQ4na6BqvHcwW5ghm8GM93HbWR+PrBLGETYAQBrNIZMIfz1PcmR6Mw3C3Vrcldz/j5ZPj0tqcUvfENgv+FmSdVjzqHdi2h4ct28cKgx1rZBlwfwWSVxaYYMAhOQGNZpLlK9HXw6146WvKovRxpcZT2386sPKweunNxf+qCcE1dM2EAy/sQJbjIAT52fgw84/s3PerjZxl53Rz8Gvq4mkWpKIEQ4LkelZOD+QSLDSNWGIGxsodcWccoxVreXMo85gLT2OOvF1Z7QUj6oAOi7z09R/9FOIuYsKALrIwLIlKuQ419904IKGIjSpJ7wANQ30zz0mnTGoa6SsCD+qPmw4raQaCUucHFHbYD2fTFZARmQjFzpECY/VnPQQiAsOj7xWH9v5xj+J98EnK9Hs+5B24Pi6CppQAZ4CMIPNman2fOMen8EBsMDyBT0uoFhwu5tiW01s29Rcr7m1KsQVptELVSSMvMzXLKAZvWLS34q3YOASCg4SfkfgIacHOp292MB+LOWUxbF4v6pHmte3QpumsnkXmXtITKuyfJo6C95Wqv3vpSw5Pksb48ByiXDIl0RxCisYTFGAycejfMA0zGGnmM+htu2NGOWpmLrh1rOPO9bgka4zjy2NMAWPppthPmaqp1KIlvrpXittztPYkRtRCxD/6N8BXUCq6WwiFdPFt6sz1Hz/8d1+6jQpbfuJrZy6WYd3AvMLakSR8DVZX+SLL01EAfT3r1Fkg2SqjFbT7fFliooZgn87a2tyBemWu/Z858Zk5zdsdhMQtLF8bYCvU2/xbYld7QMYfxV5zf2l4nJWOFG2L+dtJKatz5SCIn+N9RVRq1PhqSuWxlsM3yLzt6y6akhmjc55BwoFeoSuHmeL054/8/SGiIawkysxt8jyJENh6PWbzfmROqC/k/Fw4fGhjbP3F9Q71ptCNF8GKu0Fv1xXo551nW4u1j2mVNrWywRMxbAKU/elFyJJvR0W7UhavuRbsK2qtfcA5fmKSbofNI9p/iyhLr6eL4kp3HduAumT0CsRyjcqgEVw+vlZTd4G5XD2nAgXa3e/XHn2qq+AcaCtPGgA3jw09yZ3PKRn6458RMrgB0GcZb+2uI8CN8lT6+s1+neoFoRFylm1KClmSKfKngj4TJS9RIUPDQe4N3qp03i3kbka9JdCcOwMCbrVricc+3r34VyJMLrFRsN5DC5RRjykJoqQX4qmWR890qWOMQmwYK7HLbkNmHtZ7HfBsOZl6iN2QYiii1lEhHNEUST7jRlciUShc6cJSinaTgFGkLll+D3LkPHDgmQb3ygQ5B8JsdnaHTatGG1U+kpnf5h1j9a8zdvxiK9MHUTTGK04CifjMaQV+kQ+piWvE4xAhdNY+vckxzm8/zjsd8MDgphHIsFlNRylyyPJqVOLljKrMUJxxamsSMecfvBWHuegcNAzKW2+ToQ5ppYvUv4mpZ2/MW5ag/DCwwuCdXFIw2PZy9PGtcw1cfseNH9hdyWE6uFCdENQfGn/Sluaa9w/XDEsMZGktbhLhjTR+5QjIhQsdLPoXrX3+I/roHFQlIIqeUDWscs7854bwEe2pW10mzOhg4Tm0rA8ZwfXa5OwMwItFGfr1prvpJz7MMh8NQvOrgVQ7AiiUtBaH4kOKmoxEA5YJ72ameMxu4FBPF0x4C3N/9KReWjod0GBSXDgV49/uT9Rq/faLejFOLJj5KBUTLELM1qK5dRR5vwp2ld3S5n1qKDETJaW8+lpC2JOOi6SqlyR9941sf/cfTbp2kcwr3s8M2RJ1gJUL6RneCDHzY1gHmk6MxwUrHxmwH6XzKJIb3X1OdLFPAtX3a8ljitOGR2AAOrBi8TVvyP23oKzjO+cwKeR+JGZSwfqoZy2WbgfntZJhrssDnWKvTlAU+jVG604fKtk7jYN7S2TfIhwqAvCGxieInu173zPw8kmTygLl0k2dbdLQ55JEvhFftixGyQLUXleahH587LwCq6SRReEGcN/yjYN9cTmA6Jpk4l4cs/AAA3uvU1iHaIajUDgVdikK4lYh+XXqHMivMY1/BP45vQllbdSEfwpY1ukHjEVbWwzzTfZ/jtk6QyRKN2d4LCmcMm4M8f6tf9ETSEFqZx4nDUPnbIS/G97Rnxi0oL7Vk5prHrYrL3FR+PVS8vrlfEaXvPvjMkVlJUtafkUp0kYJ3x43aSS0KYl092KaOSQAmNP4gv9wla3NXE2PCqEt4VuaBoNUE+7dYkxfNQozmiyf7teEjaxitgRgzyqLPrVd9F1eeWwCVDtCjP2MvSV2iJ6fxAEuGy0w/BIN2sWywFfwtBZOEfzcpydSEGE8ova5YS1wFTEZtixbd2/IpcegkfNKw2nmEKJCUUUO2SlS+kpUBL65dvJ7sAKriQYfedpBJQQnkSeN0TqSH5TIwEyLMq1uaiS6uvQXYYP/UtRdMJVk0En7yElXA5xnvDfLapA1C7yPH+ekJjmGKTaJ+jBGL2jovpk82fZORWXJsfK0O098vhdo7yOuCW50qQxchfd/V+WNfR9ULvlHjSzyYtiz/ujAZQSoVrv8cgQZF/4lFM61uZKm58olk9uWuok8p+ya0CIq3njYJ3L3JBGkJcAYeZxcwNID+uFfeNLdzcawGh1qZeNlkSD12AO6nOWZ7tJldMdWMjAtsQ5NaWBaVCYOrVyC3VrG1VQlq75mkbWVnenM2nBfpGl4lirmEhDJaskGGbJwknQmJCqNjfz8vAwrIYSz75pG7dkB/96wrdOF+5ttLJ0tudnBo17I0rN6w3d9kGbIdS4UvC1ooj/+5/EFeZQnxRAmtbaif30szLZWajioKZGM0T62+pKdSkvQyFJCJ68HZISREv9urnYKetjgaEe84GGfv6qVshFbdCO88ZahxoT33eTsxXh9dl+uv7FbDbTi4Yhg+8PNIBT6nvHsAFB4yL/D7+oK56y5hRHBD5rTbQJ8hjduFPDLjHVnB3/QtCFbB6FAD4XHIF2FU9lPa3HOoEXOEcUbwkeQ1a6XE/HKgvvXRc/BS84BZN9u2vO5NexU+PeCR9DaL2/zr1wATR+3tjh3yY5Mc/4cEMOwsWnUZjErYMHHujNeIJXdQJjDpG1GQ/gLw4eXUNLeGSO5Zgz8LOPmZW1e5fYjMS0KDmjQlaa76J+iQ791AfeIgj9gR0FRsXpoO8vEP8TUvWZDwG54nzYy+gGfKqYqMlmnz5sBAfEGHmcoQRN66CrpMe1AvlUIzJif1Uj2Ynh2wiCJkcjD12xk9T9SaTbN9vd9Wa3atSOLPHn4F9Xg2Eri6TnsYC+j1HcqJNM7vGNO2E8OJnuxEV2RlPsKVedZicySgEgxwOnvBHpOlSYhuwLW1HJNEqtQ3YARoQRrKDYS2OYFnZSjNO97dpp+Z7+BFlLBw9qht/u92uHnLwlTxbXII7yrdpqzKsrPCe3vtI0uxxTkdPJeKUpOfxtQxUchf+aIQBSRaxLKjqQdhEiuQHLjUHuRo8iZ9Uq+mc0vkP8mweS1qecf2lcnSsWRy6wazJFzvu5M/hfq+GJC0UAnQFaj6Yqx7Ps0fpRMRruioUp9WWr9yn5DpBL8xNBqG0jBdr1C4wkrVgop4tn4LBAB1TNNwiw4SO7guAA3fmOTXGC/jWUBcVoXwVx1x9cgOFkQe3vSsodZ1fXyxuRvs9e7pQMt11KiCatt2FewbKqgMiZa0E67xfEzZJ9IiowBU1IxCh4uPCcCfOqyHilXHJsmckDG6dZEN6i9zNrmS5NhTC68pGN6wl8xDb9g0ljmYABjlGErdw8I97a9k8lZeSFz3iqyGAkW1RIj/o8yYTXX0/lqUcLyYXoDsd+PLfdmQIN5hfSOhw70faMx73qNKSzGirogv96cIxPlcbQgvoe2HrMHNQn+wFzt4sNSC1FAgXBG/Y+rqfXhEByxHHGUXowvoqnU94b/UomGVxy/BBtbEGB6Sj+/JRWok49xF/zOsUkYinp7pwGqhYplyb+wNe82rJZmy3gzFL4ylStCKSTIBhIMNaMPdfI2ANmwcE="/>
  <p:tag name="MEKKOXMLTAGS" val="1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PICTURE"/>
  <p:tag name="MEKKO" val="MekkoChart"/>
  <p:tag name="MEKKOEXCEL6" val="False"/>
  <p:tag name="MEKKOEXCEL7" val="False"/>
  <p:tag name="MEKKOEXCEL8" val="False"/>
  <p:tag name="MEKKOXML1" val="4HooU0THZk28POP9trq+pbTvvzd/gcV8t56cq85kb3NDTsUhojRA0EsgEHHMH7oYP1SYpn09ysXVivguJdhTvfyVMsBLTGvcX7WPTor/CmXfOtOhH41qEIghVTfcT6o7+LHxt2iMj4vD/tblS6qzJ/OHdSMGn80SAkSMQY+vPsTFBOXVu41tbu8+6L0VwS+f0YXQsvhOkAyC9Q3nWduexXP1SnER2NIGshevehlmtKd+FtrOgnYeeOJm2Vh5Ae+y+xKhASf/IvnVfgtmbX2MyuTiuvk7voq6Rh2cOkR96QxxeK5kgawCNtUErPBqWVpcRxY69QRqLYD0d/R3mcrF5ZRvjT9yV41bhvRjGKBaSy/m+yRT4frjCaxVaNKsjR/f1Ci1c8I//o14A6hkV/Ahy9HetNYWo059XhLhcsACwOVpCafS/IFD0uR0vAWLFyIUM6aAEu7CFhzTxULFIFHBcUkvz/C3WJ3lqHf5xkf5MvIrgCRY/QZC59BgzxwSxpecveb4Z7fyu70GTl803C8LKOyGneG8SAGpfUeG8WTp+d5apno3MIPTLE7KMQ9EsFFjSSMgMzKZME3yGQWBjFFq+K5RQO6jgOfolyWl07nDmyPLnzZXkljID715DP1QkKVGGBxtAPcMvXCINYfbJaxiZEuEmvozCcM+D78yCW1oGrDvzcCoi/iKNKwlNfiJrGiP2Wkv8vRA20li1rE20I55J6N+kzaqG/T4Tqbg7pBP1qvbkKy6QcLMq7p+Im/jISfubdkIrbLvoCnBp2UU8d18ME9B36SAu/nBq7uLY/5WAtn5fOEP5e1NXucBNp3eII85w+hQX2UDUVEhzDGT8Dykg1WTRgGSonSfZFQ1s3tfjsnmTz67295UGft4nhjFAAH+NCJj4gy+/o6Y1OuT07EDztA5Aa/KAfIeGjR0rj2KaXGj1gV/5e8bB5XkstaeOfZFMIZkWetP+FEoKHtHAfcRBO3Zze+canBqeIerfztf4hWZrWGaq0dnUJdSjcF+uuo9A5kHwK5FbbbIFEEYDTFaSxO89KA5YMKvwayObowmaY/RpVT7B/iiDfq2AUIrTlClahO01GFYawQj6vFBpSCYh+7CxHoa3pcm8UsH9hpdRx/A8RvFfWka6qQdWUjB/xIqy0wZFHzGLyeo5MKXRkblAUB9vFYt8xJ9BGEuAfgXHA7yvyWWamuFPhFCfctvBK6SnZSNh8ZOzzq6EDJco9UMX8Nyh3/b7CpYv43d/61qk0bm8DyV0nwxiGoe1m8DqKJneHRshFE7a26MWfy59pNOOGpjmxmTy4J0aJXWB4JlDfyEsQHvlAVArG9Rma9aSumVdSO97cL49ZBIlg7qQwcvhS0A4xDnAZapCfUJl+rRfxvvgSsI89Vbzo+Jv9A6R03uyG5VF0esZKY/FsXryYJwDGSQOVzkfhA0x6vOcysI8Z92jJwcdL2SUiGXPJPX0KDxCPU5kWTcszGXuycqMA/MA6Ao1n7/xR4r1m1K/5EbmPcr69mWePM944zsqps0T8WJcDT3SXnZZdZ3c6sZSv/9aQOP8HSN70+6Ubmt2FW8tmMlUw3URz67VKGgDOHFn9jgUh3bjVzDPua5wgfmv1/wAxrEG04V8F8MekjpA6GrXem3lkIfNSPzDzv2h6/OhhYYxLkXasxYMtuR2ARs8TOGXoRS1fs1dsXx1TsFdcx+RMwA8RhIGl56hpfhSQBERaK64Yapg7qOS/I9KL8WgVOsCSJ9Ty8PzeJfhG3EnI1HruQqHdXTJRPaaW7d3n0DtMuDh0ksG3gydSN+Fhc6JDFfd/Quoet/UEPtmqK1UhTG9HGSZPMAX3TIkivL+uUoh0fLor+dr+RBkN3tufL9O/uVklR75NaubomtyyZuKufQATwCmFdXpRKpvBFtpiXkkpAkgEK6d49aXDOQCWyzn+Tm87bT/lRPke29bvs3ez8LdR7vRxtzusDypJGdLO+HyEOHQ8AuPXFEPB+gTQUE4+OB9ZtbSu1jch5eY4M9ujzpBjLbtjficSQt4eTO1S0P/NExBEU9XcQRJ9xeceVnlXQri6fs/OKIuDA2rnjKnj3YYcOCpCB558CDG2iR2b3FPnBUVZ81hcVPnqTX8ALlNkpYisoSojqqtflBNErOVSgfFzNqbP2QJpjrDBBPX83szdMi0bznSSN0epFnfsZuE+avdj1985C3WoCK/ZqoYow8uYtLlByo6Xnj4EsJ0vNfo3lH0byniQzVU1xzMEDg2t+dps2zXCKOn5m4fOAVLW8SdnoByz6/nkqLPi6YRr3hSaHaCyTky5714LaMg8X8CL5QwTFYhRSJ7g5xpFwSErQ5C8rOv1mKUedUBunBYaTFwLVhkjPzPnOH3jvTe3BnrzJulW7sbtA5lfyVAQi0k2FcwAa1LJFivit+DYukqhLxKViitRbB/dGzlIbiz/rMtB5KPuICao3wPu4eq9BLNVzdZe1LqNvx6qYYXwF+MTZ7fB5qWG6u2ypCfstFovyCvPTzDd80q51QktaV2pjBDaAIpmDVohfoTo7j4oc4rSM8CpN1tV3GM/SQTFHoomzFaMc4susYmnsGlr5ezmfolvx4ckGpGPjSYBBKSmF12nMYtYTvaVdPrzO9MldfSH9PYYQZDU+fByb6ZlPNA/5DSaL8Lq0aLNA9YBOgaK42aWg4wFNz4AAH41JmiUWpvNeU9olphMhsNy4CulzETERD/Hs8R0SMp+T8+lRYWxA3Z3z3boj42Dxr/93KZWbXERd64/NTgbCKqBpKoTPDNFBkSDzYwa7wW9YHZSH1PlHAxzCBMKw4gED47CL9hC26OwUJG+IdMQ129qSJ71OkWxtbQf2cuwH/WplYXPvII9f/UXecT9JYQO26dzNbyr8vfjmGalrVPoZwBWiokCDdA3mKdb0WzLYTLzTGKMdCsB9EyE4kUf6z4wD5rYGle55yTNtJuKDdLJTqwi3aSImP/wcO+DM1VemTye/fp3PeDwnEDHsgfYJd7QFIFEBXIZRYj9T2vecLB1H1+1PZzDCuAXlRjag5o7aOxEoJxjydiqsBS0hASbpyItjro+xO5M5kXwxsHr+esJt1faapET9bEin9ZB5nutGCYQUPldafKbD1a+kr0OUYJ5vFRksyGqxsOnDmRS4DPIkN6cD41sceEsc//sj/L5EPw8YDjcm5qbIJieANSrxe7XIcMTT0ZnDNi5HfbgygiztA/7lWMmFVO8FzinbZkW/VeysXcHKJYcYm9MG6RbnCds/QQZHvPKLRpSOH1SqbwYghyES4CYQQ54temXhmCfgLCaiNomkuToWL7VPt2nJbwCkLAGAViKkTrZQwHFR1uqaWfxzCtpurLw5RwdHHUKmdLLKLEvNGSFI097U4D1Hp1IruR7BxPV/arm0/hMoQ3HPksmr5+jQ3oGcgyCUI9/VIDV5rXIkEfc5HXkiB3FNxi8M3V99uaf9CbswhhvW6n7vVL0peNenohyZRVUtIy08oCe8qAWIUoqnrO1B/tN8Tb9dABfRxmQ1KKUSiaTDox6Ej40/2plhDhiaosRXhoOwAah9bPMm13EjVxrVkN1mP6s48JbY8ZykWKxpdB32dEr6Wm6JmIAp111LQwHwZ1vKn3HGdEA5kDGPHn3rAz0TVvoN3QytGMn1r7+aR7hxtOjyeeWk4KTIuJmWNYvc6V9/MfXgv6QxIVLDIJw63VKmhxdgXu9Gr0HcU/FuwTXO5VLwsC/UtTan81Q8GQ/wX1YqovGytUK3IrpTDOsAv7hByNdsgLEWn/+mbVIIO3fTWEC0+X5Ht85NR34DIMHztHSbWxGxTu0zcD0+EoDcpA3rs2ITo4bMvx0hpHd9uspnDfT4VCsyqO+8dlr0vyos4kOnkiXJnsqjIlWgTAV8QDthZHJdvNDyZFNpScsy8xWnUtjBOdwuXeizzf6ZJpQjPdd7O7rUUsR0T61KhLKc0EewM/KZ9X4LP7Bf3H+hWwycChseOn9Ewm5X6be/iCclNgueBNRWANmQX+oUbChfV5sD4gdDfAaPyQxxAcX83M+4oWaxFJXCJlzvRBefQ0M258KagLy3+CvR5X7q4Zj943gH28D2kmkmwnAxnTon/z+ij8isWF4ynSnlC1OlJCp/qdMVeFqKGD2Lxq3d2wvFirL20+U9okfm4qddTLPAvw3HYUejJfSLjDqewV7WMljJSFiwT6+s+wsZYlSe7BIuqE+vHFKNJEPX5LpI7XqR7mV0SIw4BO4E2Zp0EwerMvmFk83oElxg6IQpV2S9FXHFkPHOmXolHD6UsY8mj4xbS7jaOv8b/u9ElS/LCmaq6FUUr/ejE4GdYD6GJKrNUvFgvIzly2kbk1U1WTANfKN2xV0BLVRNRi+OZKBjSiM0XvFVueF9kc3F2F5eAtVGkazNGZHOrnj60U/rgxgBZJpGvvpiUjUNKZpopbzj7oekfr8h3kGXSGEYXuaAoWlAyd9NwXas5f4HXMN9b+Vs/vEvylzBpqQznkXnlWh7RVPP/kYdMNomWqebKYrRFycB0PCtxVcRQ3D3e44PaLku+Mu7uscVBxy9Aaz+8nhA5KcSctKnu3P2NP/Hz2DGwPkupiX//ChOv1hfkh1OCiZXSSN7CJRpXuv1TeHMZkG7TUCKvARuZto9DQKimtDDvRwJiYLxTglQvqPUz2oyBZ8UVYEcDz4BLOiHrHLP1TegxbF8y1twgJvVlZE3erxkXDb8vibdp4ghQv0bLjIEh1aFqV6KlWngnU1chghOChp/RD0zSYynzP3vhFDso007k525nFfr+h1wP90s/theWsk8KBxOLS7BI2ncWiGJxWISlxbP/e2jnktvzsVzQ4HywemxTPoBLbRiujpCDYj5mHODxNIsGcwCwrOWc6egj4Fhm6cvHjmPq+C55+RPbJM0pzx1iIyRHsEunfgcJHQ+Pg3IgrlQUb+Ij2nkJAeXTjTkyQa6T8QF9rqzfNTrxdOLMktv61bAonkiLFL5PM77gX01rPWZW2fOxD82JJnKdoMhegKDgtqjNWiVIA5dEkKwrkaRpGCcHhORcE31KgcbWu6MZui0zm/K1cd1v5aLF37x1PVCVLNiGtHwrfByNSAUDLll9UgDpQ+UCYZvDB89hvh0Fz+I5eWJlcojwB/wouuoT1zMH9HY+upwdSwMhKuKBnRVwHLNv6seDdj3lwNlxV+E3+M5uBOELnlgC+7w3bpgXKXt1BvsZY4NhhWzpchRWfhFN/qR6zDPmNOYjmeiEe/oP/oQYDNH+pvLtc11FYdAwBLgoswxMnPMvu4Dhm5SCm380R0klidOCEo5Zr/gHmLzwqIrD+jioK0/A267fddYThlj+mkoq2pGgW2Ws3UClhgg3jxcx6OT1wMO7RSFsinSzH0+BpqRadC1xqd4WgGX29eqD5ZvMgRvsp32Z3eP1R1uU4tTerDHg1aWsPJts4Zw7WCQpbAE87gnICGGxvmPwpOpBpm4TyPTbHzHKG9FWxnScXsETWX5hlaBNEP78lMlqEdrQQsZ4WXCUJYUbWM9fcRtqeOJQQ+OA5CE+YUwdz2axMaE2CMQnDKA2UHQ75PVH+I94z+lVybRzDS9Dr7NMvn/N2vJ9o5g/QUpT3jf82u04WnHtaQm1vEJc8IbutHQfyJDPPn9rJG+r/l9cRkwcrUcQXMz5fiAFuch3fADsZ+uuvoyVGsI7lvOgQbqrs5JMzGrxyvZDuy/Lt/Zz0C2lCvm1sTt1OcFmb1gB0E2vEh9RS6Fuq0p/MyTtlZHq/44qbrAXwqdAQpqg20B6KpLXnkK9NSnkj4bPJGmXvvvWv4PJICJ6D50TbX0iVgqtFunEH37oHES5NrHGzAFhIkGxjgD+Ubz4jhr4UE+0SPE7BEsVvl0gCOks/Ws3Z2wvI3IFxmYgFW0kwT81FTAOKTz2AmO7+PBMfJN2AN2pujkt5VgLWEWeTDjI6VAOyGN1w1E0Ksr/6Fb++mk6uS64uDFu4Z5v7B57p/8xhE1bA3jsuvUaeb6v26VhT0cXfVkp973muNUU0rvWbvCRaBZMkOWtH/Wv+SHVkJfq2+7JXf4Q92qJJzVU2SK0ZjHUGxsVjXNh80vPGsqlGBH5c9DffuXpnK4k0X+2HM7g4Xjs1e8f+3bl37XFuHHPANwGsxDI9811MjTOkTj+KCOimrb0vF21lGz28EPlGsliPnvOaEjQyjovD+WutsG4xpFPU8AU9EKtALpLfuy+IWIABnu/mGTFU4HjGyi5J8WYovgBNeca0moIX00Sw4RVysTBr1E2IwoRFL5tEAXs1wA6w9kHXKDkeECmoof8Z40TdYnb6PHOl2omjFQz3uVX4Qh/WmOvDT0z5lBqR/WTMDoN5mrx7E10QOUkKXq52j+Z4p4mjRKfET9x7JZgL27PE9BAbMDDcUXk71/MhX6z7BoaNhv2NMG1S0qAzxc9T7CTm1PIr7HUzFjx5diqeDNjpljOomu6QofUcxQR+ZTjs9axGrfNoDzWJtvu1VF5AvD6Hg3gl1jLg+1fnhN5nYOp4bbHi7IIymhmyKCJaJ8vXiUmQzWcE4hAfQPUtirCmDMaXAVyaZBYpCj4FuJyqIBAG703AeJ3U7md4HEWjhSixinVzpzOea5nE/FGbxBpk3WP3iE0PqqUAO3k7t4R8yJ8vYBVLbZpAvVlEDNraCIos5BPZw9inikokQfTJUSof6AvK0mzGrBbLiygF6peBdCeUON+12BdA/+I3adiYaDb62UZ4P6IWkoQNtzdt44kD6nRjZ1AFKDeHrgUdB1t/4TSodbSMa6pdkWw8/89vP8keUMir1jZzDPhz0krMolns2t9112skmcAGMKB8tacF6wViheQR4+soX/3ExU+CuJaad5Qji9Y/lb/+oGbBSXTRt9WqGB2RDP8u+T2Hh5emoLySJQYLYCi+3+NwhllUhEkjfgbXfsIWKQJEaKcyq5TpfgSydkqyfHUPdhFe2RQ9U+sV+/fd4EZgSqkxJImNFwbdWswX5q3MIXrhOdRSS4ZlW7wUMsPYHYcs5hw+vPlhkAx/s+07BVhowR/QZWXFTgwn1KvRIeYo+0+TNnhYx5McszJfK2A65rTG++EL0egutVYu6Rd0dM4CBo478HIFLNV7nZXGlaWToQjQr5wvsAaXRzu3733sc62jnMvbhP/bZlc/IEDNu1VcADdc30cDARpKii1KcGdMhpSKg/LoTe7Jo7bB55/26RuGUZ0c4UO0wx038pEjhrCBoSdbLPQXI6g3kHiTzbwV1dFWwoX6GGJxdNkDEZZe2YvE8qEduySOIwOO8zSPTlKeiqJZvSq26sn8qlR1UHztKE0RAmbecCbVarp/O55NNHw2TRP/ZKFtxxy+hdroHH5SCNJpLSiYiVuKzE+HLS3YDbemev2V8faydVS9BrjVZGwJO55jfaBsdkmbsBn6PkdguhqWYmULmjrHoR4l0626cPy5yMkPs6rS6boDonwzdD0wAvvjajQfTz/kUr85DxuMEqUN/kPVEpXt2P0j4TVc6o7YUDXSfTLTI3HEprUgHfX2HziJfF53R5+MPKbheMFWOwPd6aEcfnKavdbev2I7+7bk4tS7NFxBPq3MlupP1ZMofpe6/bCDMAneS62aPYa96Wr6rB554b+ztZzxSiLrOHQLfpTJLs9yiT6UzGEj/yyTezTXkS0MMKBkSOmesqAYlwnY78FrtOaXexC9xS6ohoZC3K38LUopwFCs6mzvIIlYPZyOOvuyiB0I9YVqrFxRz/4KUtEPWqPm8MkKG78xVT8R1SKgXHzsMS5duHLXYr3ZVDmPD9HxA7n/pwN4sR/viXktu0jQjwEGtQF4sl9ZYKTPkgcHfqZiXrdRIOAJhZeBJncHf8OoFijrczyuLPPhf12TduWTYKKZZS8/nbfH4Guc5jCszx2yyysCMuOL5y44Mub0o2EAcD7+RiS2hMmRL97VOJLXY6Jr28r4kSbva6WulQt93HughyB6Q7jySWERB6M/4JFCoBoMNb8GWd7mtVYoYKwstTosKXPHEMwmvU7NZ/KOQIcUUJKjqfwmD9u1gdUuudHVZ32VY+iEM/v4KdelAKCovtqXbiYp5guiUAwlR5kgAxlSygY6OtRRZzi+gTErXjUqvFhJYtEDDx2GqI8ckzpUQaDgTb/V0MVmZowj1HP4tMOeIOfbAsARLADMbD/j+UwMsIQWtrv5BkysDwkGhNEiX+jKWMt3Pc6QpxIpHKCS9Ep/npAL3mkt+V+x9SFdZfC/x0cIUUB0aRdK9rcl+APi7tv/qMWD3jnxarv046AXAAT5EjtLu58omE9/odoz7szV4/qKUKNzfVJyg3bIggnMW0OzlwFVVhuUxM+yhRwnnImMoh2+WLCK3JmkXHuJUIgAKlMkjIeegG444R+pXkjNMNTJsLAUIGb9jJJcUYlfFVzBlqwDIBRHQnOaJfr6VRYH0Uze4XtTCOX0io43kl+76vHWdSpmlyyuOBk4G+Vj+QWNoqXPmJcY0tOCEkNCA+tD3JCO5FzTDgb61XK3SXTIy3NBEyot/3m4fqRn8mZk5SR+cQAh0O7ERFlXUtPfJxhQPr9mTv3IJP4mRMAKJvhc4gaJwwu2YwmDPPDAx1DSwtFTZpNAPruKt8yTePo81OHd86XIyLyb0MPttIKE5Bm8p1ljcwwKS/EDCnReZ3y0FfxIj5cMRvmnHPemLKS2S+Nw8fNEiB33XKrLeMgdO17znhJfjAM37rtYTK3/XC8iQsiBbgcpzyQFac1MO4Oi1H/FvmmwLZWT+ufZNW8tCeDJQJR/VxSyAHjZbe13PJ1Qi8TmNuACKj7sFJfZDEHJFA/NHUZhJbfTRgb3CJeZtI6MofqEkEhCUHDBk9BDwa4iI0Ygcd/FQT9rOjimuDBV4asugeHkSW0d6SG/4XPptHmuL+jvgQIPZQyurnUxS4fzHdsxyg56ioj931befyzmkchSth7Ftg/oVTJv+G8Xrbn+T6wUO40qBMTsK41ec48sq2SS8XyQl8MM12kwIMiGpa60LVtjCZ/H/t/vLepyueH0s9JaAfa6enene0RYnJ+sgvMsFgSxBdtzmA+Fc/saxmLb9A9aP4la3oRi1ykv/tb8nhtXzYbNkej6JompnGKSsAXjeDHEF/73tVslUwPFRhq4BsYYQimGhgymktyvpZPRGviQbqxcIVbtAOFbkXR+Y9sYKMzyVF8bSg73JdQ8I2JCKOGegUXMg7oNw8mdv3ToO7++BoBejxjVPt1cPp+cP4pcaEDq9VrYhsRj+DtjMrEd3n6unh0+mnu8zAMjkkY3IwREpf05eCdqmHsslJ1MP55G5210ukyBCo66FeLFkMn9HeshqMbAqS462xUxoGBdElcVd3RarxokE6dw+SZrER8U7Osm/ra+W2s5SaGg9Q0zczlq8r5wVMGUXNOrWbUvCe0Jrdmwa8kc5JFVLX2SPFaYq2StnUMCl4G9aDGRojGLAUZi6kQi493dyaF4/nMRtiEXpkUEwOqIFBExc/j6wTU367mGsUiX8iz1HwhGCyAV2V6b2d70rkzSCOimn7wM6ri6hdSiMARdCKMDEl+vEFost0LwiUnV9JhYjuUJsEdSN6xj27RxOYke6ZUP/lIjbqtsDWPGfaGVeCGHWW7ubqBBGu1sl78CQhutBGUasqwx5k0pE7FPqLomhcn5vD2SQFCgYPyecPKysZaimfvXYtOMNLLd6eWm3HIdXLhLyWcNasnKx9Qe0l3DOO6/cQxbUd+AoQErHYlhA+LgJxEKncJwkcQ0xqIiWsNDgLBJjrHt+Onp+enjKxfElmbmcX3TB+P/Mhv6Hge84J8lgOVM07+XpgH7zlNawJcS3re18IZBfgnPi+tu2uhj9JyAAVF6rvCetntaJHjRSP+jEzA7sfOjENvKHp/GXpHLToItOUdBBsCzY7fSCYMk3X8W/l5oCoIyW5pOOTcFwyQzFBKcLTpTNmTvbNSVHzqpYcijCU0XRZDtFq5g+Wbpz2tWVoyZf6+PynpDYdQV9zHzE7eH20cgyXtm/YIB4+yq1Rl4M2lUa/cFjgh7iNgKBh9QBg5DFmj6V1VoaBecQP7veZi+9Myw2Z4ujmHbpowNdKCh014nvPzLJhrfCbUWeggOQCXW31VmZBTIPQCpVb/uCCQPR5agqvxJ3YP+esasQFVt12gqFCZPmPd153ROzOfsoIOXH84Psd29YeDMPBNJ5GyOTWuz0dDIoNswFdgnX/laLIGpeUiaH8231AuotXX0GttyVVQRrsuQBEegZXIOpYFs/aBvbab4RqrjgozCUUlv4voS6K+M8hXYj05nUsdG3gmPiw4sv6VmJeStYrOUJew5nnQv5g0rnC+NO402khV5IPCVUpd4ASpDOWNYmCy46uW6gGo3+qA3u+PoWqdRL3GyvjRLufVIEn18HeniY+wK+Lhn0EjC0HYpOwz6b4+xRJmu5uJGkaA4c+QEkk/9/ZZ4l3CBVNYYAueu+SsvtyddQHt0eukefttxloX6FV+msqQfNvyiiu6HlsaCfNuBr5JBUmncpE6amSL6CQuIr2Epw+KLy2DOUIEHO/du/56R0Pg8mlpqovCloGbAzrvLYhmS/+uVkf2Wi4KzbOfwGg+BFVOLDojyWRmqkxYmmIAcW8qFyCxw6xTKSpQKA81NyNQKp4z7Exvex8rDI9VJfimDbs7uqvnaCQh3S0Flp49B9NU2x1J8qi8n6OfeMGUAd7PqpWcWYR7HefVBZM+9ZwEkimKrmSkCgJh9f9rbbJKKllmQ8xUrj7/ix28Es1dLkyPHa3Y2Sc0ZGeWkIKzRnAARGd43hqkGHKCQ8tHU5TOKmnhC/WysffBnKdJiR+tWVumtV0GRUeEjnl4k0FRBCci6zP/ADo3RbdQ5hfPuJ5qN82wUyvQdJ+5/zHxdyOiBrXO3nqRFsSZYP4reiGozLzQnUbXqIGTj1mYpHFPoa/ykTIh7146gydT5S+yeSr0PDGRXDr4ubBvzUdFHVWJ0Qsw8D6NZvyt9iKlV8XlznULHB15X+H9wap2UZYAh6SD5KysmeVpq2QN6lWDN0a6a/vDX83SZ+hEMxi78XC6g6P+U0vAV3CEMZT4X+e9CzEl3n43QY3bipHvbdgxscYOkBbcIzPZgRCsjviItKtIq4KRsK7gs3eTee0yrOWzzvDufUEB/jSytF6+VWeQwZQTpxZkjpFCO8ublnHNGVc16Hjgev9YFK6TnJf2wFY1Fn/1ARLDd0iLAWM2q202Qlv0lTaY6GYY8sKH8dGdRwOuBpgFzT485l8FDJbjtX5F81fupUjkIFImGTCkAmJjHG1MFHvx+MLOl7ZTzY26S6hazsx5dmXDcuLLQTqLJI1Ysz2acLNhPBP/uskBdSfDmhyXA2xWyIOFPS4i0ocxok+WWjJXvSt+7tlFcqCMY9FhOT9smV54oIRoCmFrFDeV0Sr1m6XJeBWNoU+UGTmwAbjG3ImECL02rOckoCQyYONgKZv/5qAgUWlQGdb+dIkwfra+Ff8j8Y+wynl2JP0rR3mic9npje0NCPdAdXv3Yxd3Zk+POAtyFmLwbp8KfXP+pRq852JCURNcSk3dh0gexPE9JCb4RCWgR+/euqX3tCGhPzX7MrQMq3CdoohBqj64DD3+UvwsxM5bd00zb2dwPWPAMpk0Tfw53JyOZOGVLVqUNpexUmSp+rWoIGrGUFT+GSik4PNKbIV5FVpEPMZ8/nZGkh1Y/51rrW7JwJ4gQKpryb/7M+upOtmnrhAPzJKzV0RypU5c9pKSVhPOBu4GP9PeE4kFm7x87GqLq6P9neuZZzgADzgyunyFwRDHhKVie7kKDU1VTzmCBYo8lC5d6VF/ZCfnnNe9Z2zxFEyrkjHQ4JK+cXig4nU82mQin/2BoPcT7GNbvnDpdWsETg8wrMSaLoy4ySQwCtXMIPaCnItNTc6EXF4dIWGiS3KZFk3wcWgZ0RR2iIdzYk9PZ7wT6D4Xgts52nX7UdjBB7uqjC6yWL4tO+doFAlD4qAwznnxao7CHGc3EYLT29tgEJ29N1WtDWiexEbB4JEWLudhH23wxSXy7wDyj6hlI/tr5Uh1T+GfmWhkuNAxB8PWf9xRNAKY+X906J7a1rJJ+xu0iBG0VTIw7ckmzpiF2R610JoIKccTiIX2UpJPoUEbAGqC36vxMfZaGj6lUMLGLXhvldITPd93033Si87NQ97FlXnEhO+KiPr7dZ8coJzXUccAET9nPLEqzE35X9CoplPhrIF3RMyqijGdA7NX4AsUv27AOs3yj9sTnXXVlNKRN5B55GGWj17JgKfAf1FhWopYfPd0YOPgRm6Fayickh79Sfy5ygFkfwYO9gca0kigL/cdgG3EMsrtU2wChN52cu2LqB7x52caLykM9cyfpweLzPSz637xIR1FZVSDN/0B6kUiXLE2IhzmyAq2kRpnsp5Xu8sTaELAEgnnSEXqs9E9I2KVZZYy2IByipRHJAEjUMX93bxfLsiCmZQgaQt2QAFLC+CeBOSJhbRNimv/1v1sMfUcsssTsRZBfchaXFJhDYjF139Bxf3lp5ZTKgCNgbsR/xqxPTduPQm9KrLSLuJWcVN7iekVDudAnJa9s4eO+vJN1BFY34GJZf+WI/kxm1CAi5A5oH7Bowf6ayw1/CmUSl14X/D2/x4rD3FIKAaSh3U87Jj/LcAvBWhDPZY9f7Kh2c5hWFilTWRd2p7q3Shy0OHrURxRU7+suo1GCnusS2ydMwry7CWoMuEMokaScFwD3yjfUm9OZ/q7ctyEEfE2g82AdG1olHgwbZVo5nh+NxIiksGjFlglmUCFKIpCO2A34UbxWl4iVVkHCUhtZUWKGWsNa8RSpL03jsHYFQD6IlFczUThUxESEeo8/eVwnFHP3zP5cVymIGh7LZMbidL+Tkj1PIYkPUEkpxT1Fc5ggVbR/z4L1D83FLlXZScjk4PDUvV5B0TdTV1mul41PgvNcOnjs9KVkryX8meNMutEcYzK/KLxJC8KRXPXzoszDADk/8MQP39Nbg1H5iqtZA0EH6dS2QtUlHCLSXOJay4HuycLslzYmoAW05CTt6XJ9Jvve4SKXSmdBQWHoFri9hP4BKWkS8l5kzPFVFx67n3X7ThA0cVLvu1KxuOC01aqDOMTF9ZJFdULd1rn28iwWLpgOgRSR632kMiieiYg//LvkI3iCyLJKGcXH4W8jmMyW2z4FQgW/xKmLLneNRKkdE6hSk3hx1dIOPRJ6LewjL9QhhQo4+khacf8LzxQCyJG70camiJWjEt821OFgt9bO5KKzyL7dFjQ8wLhepM8G3VZ3KF+Byg0TC1+l7tFPwn18Rp2fuwS7sQ5+gSyY2IptanlYoaTURPFKpa8PfzjbKxhmuAi4MyBGPUqY09UNQeCt+76aRGexm0/u1Tamq98MzyphbQawYCrecuuCQ9d4Rz9WFDWI2e8SKUbTUDC8CX3TdvA0MxkZGTTJPQ4C52XvZA4ZDsbuOYTeVsOP1yWo4GW35Q0GiMtZlBzVSF/+D+bGHG17S0HEkDZ+tRtEvWV1WfRAw+3HfbtRfAFviTtdCWxBl0BzawXqvKcprc6ttEXcC2PJY24NLT3iZXV7hpGupugS/nd2B5t8U01uYuht2j4RQ6Ec/TPN9nyTlSTzLFmN/Cbl1K3zsNbsdKdwbeStZudG+HdwXILDH5GbXMtKxvHH1XBq+6nQbQaAtAcZNhfgNlpPlTZf983NSHshWSDbvTrre7+qv8iz3uUxCCju+SHRYhrXQDo5+aO7mFz8bRl1kDa11f0gkUKp/LRFX1xlunq/Zi+lklPNgtcVdHNsCwThe76a7LQZ7PpNA0YBAM1bUcyck8upolqqFrohOEDkU/VYWjybT1Aa/c0DFARV6VD48czVUkPT/pFS6G3ZrToawU4oAALldUVQ/4TttqtoRPXIeA7PTH+zeMQybCv6aZ+DVk2buxCNB2I0MgCh3wJYgtUNsTorKoGA+/ojNA5OxcflXEV8h4ft90foXc+2qD9qRAqTLRAOvc1tU3zovzaBpoxVByg19wn8yP8G57UFCgJTDNCD7piszCDCN//uI1QfVILCOTs7kcb2u2S48YS/3s5X7FZGBwPiAT5BYb6ay9VrpDMotzpskdUOI/DlHrzZupORj5N3bmdieDHIj9IuW6FplEeA6s1sxoGIXM5oMc4KFdR8TW+2croig1YjULw6xlc/B4W/kQygC/Ay/mGeK3cuzTNpYwkiv2F9aSjTIjnJRjDvoDQ/ksecMrVLXIN6nAN2mCrmXLKpUPyvCxwbQBQ85wDkv81+5SQXHLRzHhAeayEi39tzbieB4IBlzlTn5MgrjU/FK+0o5L4WT78fbZbspdxa+A+ajSuEixlwRBiBRkOSRLH1mWPMdaOF8DXEYNYIEiMkfcc0KSsyzNg8exAD49DX9wS0naih/6zOqEwxi+imTnXfeQuWk8A+zBd0jG5hwatRXMP0dq4LBsLKGh5ZOYMhQgcjm4XPwts0JwHp/deY9LYnD0zXpsAgmS8zaqTleq/j5YELuhCKFmHQV/5bieD4VfcTj9jIqsKPMHPF9QXzfSM20/d+96y0uQ1PtL5hkJKDnwfInMQzYs/4y9KOb+XNCQZS1+8ja144a7/8SO16M6m/msOeq0F53XL8FG0/2FLSnImYG5Whau/0Ft0q+OhlSsbB8I2w2KNvVZsMyAg6MVh194whjoqsWluTtxRpFvZMe1ov4C+/9WWyqBywAmCd91UiEyJh1W/lCiPSUYxe2Q+alxGXKRI2UPJluKg3zBrOPefEuFjS+4SVr2NgGSORSxVnpeGVHmDTfCb+zK/5vqGn/tg+I8fe9onqJnBvUkeCP7yU4+rze65gRspo9JQqFQNoFuei6ZUcJ0aVF4Tg/gxzYYHxNrBSBQ2d4ihfaTLO2CJsZKGs/CGJnFRPrP72s/Qr+N1wqNMLq58nCckDcxwgRdZp0oXGFYT+RK5y+aQXLlrUsRRnJsJhJ99aXov5xfkPTzY9RTcaXtQ7NZjVlZirlB5fk1GplhcPNVbJBnV9QfnuKSRXgPTb3C8XUPM/7JM/KI7ROnCkifXK6OcZvt0LT8gd1+xHGqIGNpR2JecR0XBvEa52dGnmmw5Vagefoiv0wT/gI7/XbPS6aI9mvdbtPATDPPyeGrWTaRpFynmBX2+hUCNkgnC6Ci5MNtYYUffyIzXL4UCWkTnadn7csJnpo3uurCWLkO5J73sb4hNXgLbJXc0S65ev/yJqROHjyz/ICP+apsKDBM1FyjxBVoDGnpXNZanAtUecfYAQ7hAuaHw1g5feT6TUGt3F4SHdnoB7urWEECFBNlbZZRt+bu+yFy+ZmG7TZpwNDEt6Y/v4YEmiXpFe0MK5V2JkuusHldJAESaYErKT33x8T8/DhnCRMaap2tC5flCqeSN6bh3+FfdkNG2n4MrEh95EaQdye4lX4I8X6Y281sOMcx4zwJrpJj/JrYSZaU3f6q5xmEuQCcOnKmvTlFjW5zYl79L8Kd3/lEfRSReRPUCdo9Y0ooMV+/EmqiehTuODysOu3Fqa0NoLOPmD9F+Fb8O2+eQj+piMh56P2qIlDB69qkz0Rmbm5bWeAKdyXQeJ5p7Nr07MNpxh9GgIDZJ9zyK/FMNCHYIu1GrhCG/JIGPmV+cZX0VrahX3DTrqSkkJ+RuY8AK+4kLRXSf2GDIMI2GTBFqPgYF8HX2oicGsVmemLwcGk0D4JCH77VGg+N8F9J6YpjKajMcDywbrg+tXdRA764XJkFeqXRwb3dhkocM9MI1LHrxsTYAh89wrP8cbpHSqEc/MvM3X8lQK1rqjG+kkCiS63LZr7LHB8GQvnwpqwzgV/7UqDr75pZlxhDwjGxliieDF4yVLAIohgXh+AHiJGXOFq/YqdRIuqwj3FA5cGo5uWop42a8xPhBXToNnp0FuDhUjPAXA+t4BWAFqt6RTGelUOFrIOggKL24/lP/qRU6ktmrjmj9/g187sQ47BYuf5ZOIS4yetXojmxVxftG/nl1hqFOLH7WobcplhWcJY0VOBEGQkWWu8W8Bd3gwix1JsFlICZLKgipSdLtwPPG1BPSimpfqOFtuiimdIYS/eS1+ChtOFrZW01LWbHDgNpHOyVHLWroYcUsFo2AO9MmBj5mj99C3kpb1ubDJq+fMClhu0/qghJONCe/TT0RdpXEvArBAtN2WPw6g0LXdUDFNKrTLV0XSTu088SH/JJCglw2zrGMrskELmw0dG/Kx122rOR8qbrseSM/kYVu5vZqY5w3HK5xllY/DWwM8/enCpogbt97N8WoQ24XjIrxe6dxbUYHPKw9Uek7jGGWVV26yCRtGaVgD6OjZKo+y5SrozKYH/kq0qpXpQrqLtv2cEiSLdRA51ptB/xvTnbeSlhOkZwsSOWgJHyxEOJjGx/9fqIM+2w9fIrOVfGhXezEWJaIDUQkeaVpNxUU8d6Gf3zYTn4mL7+1cB/Cdipx9bL7Hhn/wUtabAVgI1QrpKqQwFkgVzi7tINfbbrPuqj3yW5Zu/LEWqgg2N0qMuj0ZuogEBdkeKLXT6vva22B8fw7qP4czdBplC6wkNDtcXwUejHeUU4Ai/4id2EyfPx93s5Zp2vL6Ol0ObA9xyRaLJ68o9ijNWuAx3syQa3JTsfWItg25fGDGv6LIsgzIJCSs10dsfQsfiXQbTwA7fGOX4h29TMmlrnhfbN/AjINMM36Wt4Tj488vlHtNfTorJZA47g4Lmd+D0S6r6mR3cIhRBKglTZ4HbjxHx1reyufh1gtfajDEU/pOUjcylRxg9R94HU="/>
  <p:tag name="MEKKOXMLTAGS" val="1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PICTURE"/>
  <p:tag name="MEKKO" val="MekkoChart"/>
  <p:tag name="MEKKOEXCEL6" val="False"/>
  <p:tag name="MEKKOEXCEL7" val="False"/>
  <p:tag name="MEKKOEXCEL8" val="False"/>
  <p:tag name="MEKKOXML1" val="4HooU0THZk28POP9trq+pbTvvzd/gcV8t56cq85kb3NDTsUhojRA0EsgEHHMH7oYP1SYpn09ysXVivguJdhTvfyVMsBLTGvcX7WPTor/CmXfOtOhH41qEIghVTfcT6o7+LHxt2iMj4vD/tblS6qzJ/gMcPCGrbvVDHAA21UQtxjiIUqba8bxYpIy0ufKDgD5XDCDe+RVNlFbJpcVRItRb19Hi89qJjTD9ipKC/dBBdkNW3cqqxFriNY2B7W3+bXVxpcBJ3WxE9+VOtV8Tm585I32tmAWsi3qBeXb5MtO78ZlEar+3ePvZm/eKkNj3/PmkC7+73A7e2tVVjZSW+pEyY6MjjSb/fYuKUlYdpc2J851EWCgPDEiElWg1WnTjQz/WMaup5Ox8HzXdYPaLQY02tr4lIE0usFqpPEw0kAWDWcYjok4eOt9EVw073UTlngHofjai/ToWfbOdqm9oJ+6oBsKJmgHTVcOIle7J4AIEpuHvG496en+iGEM42uyGNLEqbn/rPWm0HFHWjW0Im8qDo6T8JJ9MWVWo4V8z3dk3rdbfoA2HYq2DBgvzZkfLx9gCBRe86WwP4H9AdJdrwdxn6062SwJZOuuDM7FKpom23pQmAMT8fVEQMZ5nfNHKlsxO32tA24iC9KE2fUQHr43WCNmPQ3UrwI9v6UFRZaJjaHxr01WyN84IaIGAZGAhvotQ+cGVocnPcLjdKmDHgpA9rhuVpmOTiCpcCNFBvgcsG6Ib4ANMZsQKVZ47CYExh19qoxwWNSPo1YIIDHI4I/ASIu4EEwTMbXhFzEDEOT/VhWr8+8bc5m1iTZwyQi5V/Q0v809OEI0PpTK6Uuu9K8tNZg70ktmBWitAuifLIZ850dgWGJyZTfWMALVQrZ5+lR8M1rpcrfSIx7r9r0Ys44VTE8UZ5z9yZ09DkafpeluiUVTt4lvCS72fjk/07CCQZbw7KhJer5LbcO2JTm7+8AeLJIWFJwSuGmJhnSbw5gd0lgL3v3PtOf+wqGOqxi0mmw3xjqeVj4h/QoWtn+hs7tvBTKFZShDE0AxDgwvuiebdAdMXcoRUNmiQuj4wt0IidIqb+d+4frMlqBTVajvW0HsPpdnb770vb4xXDVM630EeVrdqW4bYdm2x0q3+b+qP9elSlWXmMac7baQq5esLVccYY2dyOezz8sY1c2eaieGhhZIjuJabUs12zoBg8lSki7lMrP1U3ni1i0Xhltvz0jYyeXyaT0U/eajGr+Om7kiWBVU8FWYalkdu3nR9AF4X52WIX0zBhqu0Hb+EAtTPmJJhaXu+SlQ2Gyydsbjiu7vEgq2pT58ItcjA7npZg0xrxNqH9W9B4vHm1vuNQ7LrUn3Fml59hn7JKZaXQ7f7RhXyN2+VqNdpe5WEnANPQ0FnZWqjkTBx2e99WUypKj5Uj9UAl/4deao8gsRReE+dZZlkStvIBYuKYzsJ/dF6AVekHviq/NWXCuKzEHYGkdNbGKoMhHmMNTBYESwwBj7QrbK93p90Pfg/uCHGzz7neKbB9o0KfF9/ZN3rIGL7JFsXZ7IhuzjXEBgZF7BeaSt3HzA9eiitSEFqA3T2a0w8SS/kilaY6BliDzvwvws8bwOaAZIYAC/uF0b/11p1J8xWKYxZMS11UdRFFVdqLE3JsVTZeTiXY7iQNBdetg+dR3gV76TI89YUcg+v3OVuVRDZ4WDRhgqPnRXNleJPUPMNdJ0/YJG17E1qWwQoIjUNzbZsSAeZ5epgbynL/bhID5s7RbEic+13zifMCGAHklvqgGzAt3+Z5Rus+UutYvG27RJ26tqW2gFF1o+GJ0JWy/T70yod0qfc8+349gm4Q5YBWiL8QregrtyxWsvdPbXqsMX+kE1TBcgcBXp2nGsRVMOvuI8XguseXS1lbzYyjr/Cy6nVg+vmnbIRstXGHiE5O+UaAi6f9RrCOb3waKOHzdRaGzIeVswut9HmOfFruTWNzHx/gOhmY475o3/ZPXrFhu2IJmXJnVMxAzg48QBbr3UcjMjV+hcxSOrRgqyTKNaCZksWkZ+gMoxJAsWRTPdr3vdvk8lZ+UKJ4alRqNRzDEfC1CvE+MznjMe6zbzQXOGUZulSITU+CMk/uYaR4UpzDyuRCpBiQfJIoiYxyDG53JEOwEVYC4GOK3vjXd0TlhLGnED+rRIb2A0d550EwrjD9MF7g+Ip8LuA9x44OsFnugBOFOlm4JUHG7483XgMEiIDPqsVrH3LjdkmzWKKS5LC2IFeorhFWzp2lM00C2Gcn/mXUd3TESSIOXOif2mbcTPgsqB1iBhTcvS/DU5uQ05wHY9vATGXht+yhxpimfdF0wyR8di4Obq/4CMyPa5t3/qdlu+0wmZcw35+6lJLPUGjqBxDbLfLKjwqn6tnzAvUz2aduEHjWGGne9HD/7hsVe2DzuFGxntUjmQ+ZIOIFdpwQ0gzV8P0JLeYGBKQKYLTOydkrR6c1DqvEaAG9gYqTA96BEcb7Yc12vOycY/cUG9ly87j9RaTC+9BeT7Y8Lv3/wQqtPK4aCiRMNxWW5pvukDVnVq7lo86pyCKpaAloY5xZ2DlavY7gVySAhwdKcNA+QxV/ATymoFMTNOyRMiqks9ED/4TqfKSop+9gEmPmqNGRLzRiGtws+dR5G1lyKbH11PtgTm0E4rvC/Tu4olOYsBAqXIktowBXk8MPXn1i4LcUvbMfUF5PT01Cr4zlNegqOzym/BlpQTEKOwajkN6gnxgqitrndz043fs8bYcwv8k4sQQG7NDdVQUNinWybpgei8DRhqnQcwbQuqVStbF21p4gl7eVKGY7/jQAxiWL6HdfC92bzZPAllpec8tKGR0YGrKwPrNbtqSUJh8i8KYed2aZ9ohoByqeqh8yFVxQdRIsPZy2B+XQivJifIB1SVJRtPE4bI4b05rL7s+MG7n44NPHQqFmabUCiHhmbynxQ2F1f0OTCzlmrA5I2fm4xmdaaWpTBu1poumoKCVtwmcdRdf+z76yoqr3/aHancvZjH9ydkoM2Od/cBfej+EiiPBW6V4kLrWERCWY5S49K5Sfm/UR4LFPodSPvAWoFh6I7JrvFC6g91H6lyXHHuoew+4HdbJXv9QPQUJ4dGKW4N0vH+kNoBFmveC6DtT00KoRneP+YzWZH1z9GH6FO9reUDDtQ0ZjW7sy2yC3C5UH9kyclY/wTLRW+8JJ4FEhAWasLMpoKfMYx773NWX5gQrQSExZttWrR/LkdnzCM8KppFTqYrPxuBC0g9MN9rWKlbSkjHXuOeOXsAOAFpF2/R68QhpSh9kkYs1fkOAsDN3ntinQMmLej1uCsuewK4UCVO2Gh4Ei9VUWMJViK7nz8kmqwtBAEhdgLk1lKsoBkFEnCXBDkIl1snY/TUqTCazxj7xuzwDtDvZwRl08/wYHXGM8b+car/jMO0yA7i/qwbp3DnXGhbBR35oSUNtkwK/V3X4+aG9z+kAgf3DKYGItU5RcqHaG2jiG9uAenjk2dm6WdEdcuIlNRchwdcJqf1IquRW6iP1HAystGukA/pkelXQr3ylipRz0KDbIhTqXGakZBYqtHbZytN4ExONTKa8cllptSued5kkZGXTHFZ0Tim6ix0WynuVR9v4/wxivIH8gJXrPBDuhyn4Pbxss0NHhMZv0D/eVcGRgfAY37Pgc+2Zq59V1Bksm6wfhc+2Biq0rh4n0cqS7UQ6onL40HUl9R86UWwhZMK7bH+1Jsj8gEYudP8dyYF0CnWhHp3eG+Pa+Pg0liy5Q0O/E3i6RDkwXpVF9TyCKOQHEB9VYOZujz5kyGSteu26464jmZm8G+5QZTEhKigrI9fjaLGr84+2PKkxqdvStxyWsS/POo4QVO7eZabm9uLre3ooplzT7OJDGs5GAvTYEHxekTBnyPQ8F9k1RLCvfJfyWGQ/wdHtDREyce5XAMgee6KPsEPVm3vFEXzjKF3khIYYab59LWx8OSr51M3Wd3BCOlvStITEyVxsxnW3T86neC83/lSW52o5/c2fcMMy1wG8xTj1Zrxi8UI8ZbQNlHBlT/REEHSevpkFEUf7XoGr3NKT8lFoA6G599Ju2A16rpOixQRFwW0YWIEwIUhDG4WI1NXNKRyYBly052UAHo6BDw7vR4H/mFH0/togVLdIldh3przPWeqAiRgtmg9nXKeTEcm+OB0mwFiiz++NhV1+i0mko6nLouh949xNvg9TNHc0rEBMkaJPGe6CLjdtpqQqjc5bF8ca/9HSv1SCaPk3XIUVhCqT/hTvnCmtuLQT5NLjZDlMJIRf6SHL7nib3QBFsFf4lhYoKG001zjxF2PxV8swEv1NwPyCBbJTnnmV3bDjeL6otCCtOoheaWWtTUbImZxW1t1qocgIj/ztuAG2Nbx+18EL7i+OEWWA104TrAq/yJiozhh0tgUv0XsbCVjfR8e0Ay/gAWhPVvBKCGcGUzS4sOmTGywciQ0dwYGzKiRjdZdCWV3W6iMN55+bXFYWII+JvxsZCreU9/PRSzyvaN8mp9JGY16dW2SciFGnG5wZZlqtQVjXSw1+yyyaa55CY9k0kdtkzCQBruXXXQ2H3CUBveWWiC8ly8qQ23TPwxvo1C1MCgp+jq5ReEJ/A3k2ThlBf3pnduWKkYNRDru8Z63SnMbvaRWtIEYHZ0Wpom2AtMYhJ+bzIjxoP350DO9T1ogZ2vbi6yEtF0b8KR1hDkZH3IepL6S/5O623GgCpJK8fKLpvPPdReoQrIZzW9cP4NfdUYoh/J8Ex2SdwTrVtzWmja0juS6g+y/yuX2dPfedYf0AXNiCSO2bvZzBMaSNKeMW8h3DjEH8NdFP/ldnX9AIz/rtp1f5oYjsiUXfbMo1WgY6RkLzTIeUqzESyyvaclscYmqD2/hZaWJSyirF6+rnYUbvQJ1A5Cb3pCk0M8/N2JA7yG7vxqorFZ032XMvBOG7Ut7IdAcF6PdhA/YC9Ak+laZVrua9CvJWddlM62OKY+pg6/vsKSOyS5rBSgZDLmsRiJjah5tAgG0gj+XyGQ53wFV5Rjjr2z0slW+yySQ628Y9lnzqWNOp5a3fD+CKIPdiS+mZv8R+Z8Iyjmftinl/ecGanHoqQfJlNsQLtjolAVzPPvCFdeKh/BPcr10P/yVq4TAfvDA4m+bK4sT/m/hwVizWEQVvxQvEm/jOhBzPNr8vU5rIYdRklinIHEQwc+tILCaJvgpdmcfpbfSiqCW95ii2VSH9J3WuvqC54hfAG2toTdC6EKIGu3jBVwHORf7VZ4H5dbI4Tn9pt2ILlzVsSaeW/iLZNC8Xz8JPanyP+xQh69BlMt+oRf2tdt8/zVrGdXJMbEQRyVRV1/3pFXRlv8J9ODQdVbe7v0Z95dfac/Iv9qYK0LRQghkS1RvbaDLfzWDFBsJP+OC3/FeczDO1XlJhQCeAwyEZ6kfAxu5QSt9tGe436T7MRuKC3l7wHeOY0qq2Rjue1L3yvbEdFYmi1y2mEnU/SKaczsOGMWI8uIfkxCLrSfD3hK2AvjVHM5tTdIIZlJkLNnshhz5mdzfy+xBrJ+4y1JnqjrmjqBml/k2JXfYYPg9D9kIwRxDSpzq4Avbdx9NMrDqYz8t9Oykv5bP1pQyv5scjXQdFfrvp8T5iSu/LCKoWvtRKLVJtc60na8ZyFcphcmG5Xz0URGfclgM6xV15fMKEMd1bFo4GOABgexspgdI4K+wAOr2qm6MMmBnkXI7Rq5RJkzOqAEyBi6PWE6j8O/UBSiVqmKDjTjxq1VTfNPrqnIFxxNGmNcDadqnfNZ2u7xEQamXsgfUxeormSvfNm14aY9xi6dYePhqShNe10j9RnWNvxA2vSVsJCW5it/pNwpicqa3qqan1hU8c9TNx14OxHqv2WImjfXTNE+w9XRkiiqT6rJZMYJfYfWhQBmcPK6Ls6XSOZS5BLCDn+CdABnD6shYv8+ElEuDSOtX9lJ2jyymUQSh4dVI7C7ZAD1lEGKhiCbRl0ns7HvQBsgGf4YVIdYJDlDxiKgf5pWv9/jRI5qkXuTjRK2tIBPRgiPxAzhi2iTpp4B0RLEyWziP5hkM71jRnRHUR1OXQYFJIfQiom13YK6xmm+l5eqcydSSkS+Vh6qUI7pvDWMHFmkj5LF41qGQwhSKv2ABca3Y1zqf/oelYJoTVmkc6MLjKDn8PsfJcbD2TanHNF0OjN+44L0YD9nVpX13wUcBZ09GWcfq+drbkqA5LeULA1UAp+kYU2r4JpWN3ZpE7PfvWP0FHQn/dAUc+D3M6f13/mowKazFM5emHd5Y3gvAW4LYBeKzhdbwuwFR+kiJiYzoBX7RAijug1qEm3kFnoDViqEI9y/+gU+gVMiuykEXLOLg1JcU5u5USsnj39khc5qxV8hN8BO5mZjPWNJi4wshKYoVgcZoN6RZFcjjmVxu8wqzVzWrhUoGIkQCIvHyCgdYo8QI043Weye6qlLn0UstwhGRfOLPx1cBBTRsEQso4eviBcrKdwYebzZfoEmRcJbZN+Eh9ApFKQk0QKp5v8lDDrVyEFyuGk9SE4YuYpJGktv9L+Jic2YdOBv+BquesDLZMvHGX2QnmZQpgjOk7MvPwv3dTPt5IJGe6xosRhXnmMe20QTsDbeMvMW6/XgBA0xHV6ocfPXi/PvbYrAmELxL0dlkzzHL/EC6mF2+8kPPlRpaQ4bnqwqUlqv4wJKTkjovZngoqHDWiSPcaR2MIx3A2huL8TmvfVQaEozhlA6oTALPDQmLTs5Ajl6c0ad7bPh75QXWuhFlSIUxhdZZwlM4r7+nQDytzu1W1C+cMvIm8gowr5h17oxGTmjFJD5XAy/zE2eO25LMJtFCvAKepthgaD0tnNBh6wN4d3KuTR4mC25AAJJeSu/kqTUJ/H1wSmz/uQ7+Xa2E9wPZVyWcQK2afGD+X5Y9tsoliQXi+Uv20fZlafyvSlMqI6dIdVQhGFS/oSsWP4H580nvjXIvB2SQsOJxf0oPPVzWoBgKDvG2sf1uRn9oyD7U9oTAp1AkaL28shYYGKBPetADaxsJCAAY2o+8VsZ1YFq+yA0CNgKzaa8zDKR0h+jzZAF24KyCRjQSixlwJlAJCaqgD+9JeFrl13+OzrcEz3C4ze7JKv2mCvtvYHx8zcwl1bNSxw2Ky3FvQqlC8lPviL2K5IoquPzfuxwtmcCU9Sq/Y5iojv+f0W8eoSLOkJA9Ss5J0Ko14e1J01zm0Mda4+STmyz6riTMAsURPZiHQ1Q9za0QPtuytcbDk2I394Uk77SsagxmFGI8O8mnuxK8MbHGoO6fnE5emrjPZsFLbVUF5/uMKShs9UwD8juoFyzB0KkrNanOoflmNqIULxLaRbc2PuoXP2ltjd4i+qdA8mT18EtNia/xaXmZQbCkpUR9ajSk3YUPiOEE3R9ye1fyuIPRUuVPhmn4D51GJVTb5y6PNEvX8yichHbdUyuHINPbVbw2PIxawPMuoUDJvogFY/vxXuX68rJZzdPC2eJhTibBM4GPMWl41YX7OuSX+ndwKTrT/kOAcESMUm3D/dsf9v4WfEKCjHlrsd3EYlN2RVKOfuryszWPbeaHGM3Qgy80UyBNv1imroIsW9J6tJ1ufsnOw6n4rhgNjGyVbFYjZXCHY22wMsdK2M93Creu8RtDyRCXJzIZyI5pTPz8KX2zN1YVkSx7qNBfKF3pd13HWucP/LlQyKNyy7TEL7SJpUbsdsdXglsJeTGbRh8PHC4yCrsEsFJpLqrLh60xVdoAjJO+LerubXDo/jS2nB8oIuMESesziUCJGBIbLwyXyDNKBh8lC1/WvVApCUeW1qXxOnEz/gM2Jl41ZYoKvSjEFWYv3bnz8CM413HTNN5tvdkc6k1X8ymlM1zQPRdcskS6zoiib2+URLHX0hjexj1I8BAAGRBI4pGeshYQexjOewgBrVydrR1GN2RTgQG6QFmqC3GdfnBQ3irEyid3fHeB8e+1amzUkrBv4pswFadVCCVJ28hgxrrZRqXoZkSvakT0k+2PO2YbLcGcbjNR4F7VvhH5boL+iRv2fIC1GFRW0N65ax8spUodGikOvIcnxD1pcj7EYYyyGnHlJwBi6EolaOEy7nLTgm34/Yfono3DAPNSLfwDKonYpQggcf0Ux9IqduDIqXOz8oVwONOU13NTQgGtEOKCevJDlyIUwQxOscXXo4B9u38rwurdCFz96cKKb9hCjthlcfFoBTFp6QkEvFqwdFj2IPoaZcX538TTRynBH4YxYjnzk9Zlq23Y/j1hWdmTMaayfVvgkabLSGQ3PlGihchU4XqXA24uvYdLlyGtrI+RfhujOp5NzkmUr/yzyJY/IBx7NWETUaf0TFu6udnfBBgIQqfNFr0FT23yWMngEs3GoNHSV+uKCd94rSAkcxZStKN8vXk5m0UO7w3X/06xzBX7FIli79JxYKrX2Ul48SXwI+S93b7jKQzeDeyfEH9fp+T2ZSHtaYOpsRbUiyDhQctq86jUbpsYHvjGcOnHbvj5D2CxmuwwCA7DlqGzIrvguJ3THkDDYy8rD7DvSAbdUenCJIcHlat7+C5srSaU67Njg1G9prB132+jubSGdS0s5oH2JgMX2bqLnmR6l+GW/aCDjRW4WIH1NfvNRUei+ncGArswRnCOe2x/sZ1tWw9Vy/NrvaA0JDmTXZnByaOjyKPZ27ROUifBTeP/nampA36yKKJoS2/q3bMQWo7hahpLlaCJXMvUYkk04YWKJBCkM4PIfEMJOlEO8jb6UubFO8MY/QvsPZKyppb5Tw9wSapdxxewbD5zVrYeI6rT6D5w1+XBpV0z9iOcynXGk/fNphm6EVLCz0R9CaDsS6MrCeDlTTnR1gChhYdTtzjijd8Vc8sJVKE07NTzShHUXOaqE62d0BgcvbQsG+3ZWIdOJLB37byhcuu3Ub5MvRO7VdyuJy474MG7zoCa6XTC8PrMTde5p2RwWIqP4GOG0sE2PrOPOFq3R8rOTPZQrsl4AY4OfOnKEzQ3qF9BYJcjBNN4lzyXRPrPuU3H8LyQsXj23RyYa3/QhUr0rcsoZHNPAW9Z2pQDkeoHO3eCDEg+r0q0/uo7fY6/L6+cv3Y4mpuhkVG/AbmGY0R/Cw2SxUiX41rC7lzwdv21aOTAUd2BB1ASryfizum01q6IZLHI34GsPPmA5CJJ27n+g7W32NFFLu7bHjN8jhujFJoY6cBxoo/Dr+hkauxJhsTFraInZPl0U3KnfvmtEDPEKjrOl9WhFDv1i3vZdXFiAh07tevOT2RQa4BFz5i0Q1Ad6P8SxdYFOMj7poJdR0Vd8/FpA8jK+ybF+rnMrfsRI2MLPHWWXUkdrk5c0IYFR6yMPnkhw7wZfGsdTtusp0ORbWlJkR9FM4XWFYeIjTJbLOtp9nvQSWwDNB2eIw+zb/OBfDrycYHBzSgGCN3FVUHIw9W9PblmBZnLG6RBbcTw87BQL+FI4RDDvKELZhhCB48e6foVpx3ZHK+QX88SwttAOozKZAW1HNMHMJN106SwOX8XL/0cD4vgCl08WaRCmeWSY0LPDR3FreO+B6eVrHROEb8O2eGWyvmJFnlw8PD9Q0oCKHeaOMGSuc/O0Jn1ntgu0/5wYhrPBl6gehAqkiNBhA4T5v63QD/aw75vl3VZtCzEMCA4sUhgJaVyaDYx2G0LQEb5mCylT//zvyReMxK77nyHIt1DWby3MCxDQW+CZcc2cKfkPxfkUdc4PABAdYwG/IZ5GiWrucbjwkMkqplYGaN6yDoNSTdBVHY55IvpW1+Yn+Hla2kj8Llx/yIeU1sVHc1njTj6rLH6vwSZQfsRK/HPI9CA0rXYKAjsBCBUa/NSA3AH0DGyCmQZBPgcqY5TEJik914ZdGpbFAhlaIEgnopCBSIkLvFUdY4YzI4BP+4vokavJuSc2OXYr2pyQAW6ELp9Bf6mPx8y/K2FztYEiw9H1oJsglcFCNLWkRixNRU2XNrC6vl2b6TpSaQE7AraVZ+hJ0truR4YwxBgZslfy0UbqdadaiQ3yVlwJJjI57a3MeXlceNAt9kVAJwjJd2UPI5Ri7gaajfOFosCgLfaye2NIQOZUED8xVXidI9n3aZcZcOfkO3k/zYeU6C6KWD+poVGpeNojpswO7t+v/krITI+D++gwF5mJqEiU3xk0CaSeWdm1zgyy20VJHqbztkJFcmo84rwVprlSlIWTnklh2uJ4bs6Sxv3InW6wH0qd6cJQAA0vwkdbBziw/mK7Qk2RtjFN2ptSm3KhDw2xMRB3mBX3CoggKz/pWFVZ4qTrIJj7Smd2B65n8PtukNBhJPPykwU0ZTEU0wkLFhXUoGjxGhfVvRUJ1l9Ml4eGrvECNkJ1YV4e2Nja108Z8Tc/WYjiHQC5wI0Q2ZqPlTZC5CopRZWKsGFmENJNL6xq9T9Z7DjXwOBfl6ZIhJymcBAe8QdzrU4mUBfn/OHZKf2cWvRNhOTSNH8Ft6oveaV6Bl2vFsDb0KmXjmDqybQC9hi8JmNxPyDxZaEBwwChEaJh7J12bwwpByiEK0IIHsE31PGIEwk4ji4M0il5hH8/hRDX0d9pPeqj+QvIm2EY7UJdamJelfkXULZEpHRJxQbgUqewdRRpakhBiZcTWIxMoZM4NVeSjHSTHEhf+vdV2wLWR3c5+NfTFnRqwOfgP88n4Ersbhpa9mU7qDCTjhMx+sx+NdifgKpyxvyFwLHYAoSYV8yAdaFL2hhuuSRaa1P2pRQoJUo8U9wuPO2gUFwCnxsitO62PfjDnOiCbYv9EXsZgMgwRmwIYl7a4zM+zB4HjjN1V72gsM7doHkxuuzqgEBVM+hmGcVkq52oXwZHyie/80bjHDhESA3FK4oLf4IQYPdmX908Eorj4hwwVX40xZFXFSWWsu4MsvJHPn3TWCKm5DvIoIsi/p2b6eTxyV+tyF+LyWPXa2VqOjxbu668Sljv8TbffEXrb/JCzsEumHunhcqE0h7ebhlIa6q41gBTswoPyJE7lWBzn9VEhj7JhkFSG3qJUyJ7mNPRWxrFCLzIDlEBkn7oTXwGpeiOLQXtUS400G5wr8h1DO+NMYRSGGH5UV5mvmnRd08F3SqFAiQv2SbMRFyVk2+zE1Pf1HTofVNvFtxHgiXW3uYk/AzcrlWjOzMAdcN3IT+jOoEzpa2DpgkYOgatEHL67VJpk914+YYdMdfSojBi4mhX05PUPHJWMKEpAmUFkyQhVbM+bs4lavo1FZib4/V2hzlvaO4yWj80YmvU00fw1N3n7V6H0GDNVQ2AdT0oULf6zLqf2snUwhzBJySrBXiVTrjCAMrZYu+Ja+8RHDUZ86Y0qDbqNnwILFcGx795xXdaKde6KDTwLCBWC4pLzaJYZZWt19eNVaNgUDKECEVU+By+FszFjyfPSqDICv5gCrOsyc81pPmK2kYIIcxyEtYW5WxCU/qmXW7hAVEWrsC46Ha0y5NR3PwlkXZm0ztardvFfF9B8oHfxQrQByuKwiRIM97sZJ1elcaNr5AZymZAbzk++oGhrGH+/6IsD1Edw4rDFg0h1tqfb8oZ+0qXEIdrQU0qgeTz3w6AGt4nzUAwk2MgJnuc7j4LB8vFQOU17BptTPMZV7Ft8OwJzBu7oBbGwFn6ExUCNYZZ53+oEQ7U6qC9BBqiDMLwisvoKNNGV7QVmGG+AehysSnQLejDEeoaTgb6V9m1+hkpQjLnPTIhZiZT3WTzzRPSLVZTgVhMPfpOkc+rfihJ8edaEzpO93RR8SzduxbA8tniIEnZkQ8Qchm4v7bKW9uY+/iNH+RE0vYUBB/LMcGZxWJIdbBEj+pHbaZxxTghG8wd4G682gW3gTxSIwgB+5Mlgv+0B3C6C6PehfjW7z1HEwwiq/QM4PGbLQ+VkVyCgwS24sNGq7tLgkI3bKNDmSx9KgseCLEE1GfvNNrii0NmLi1YT6PhItPojhJz2lZNuaghaMDCnM11eZ2R1B2CvelXr+JYiZoUlRidUJEAf0L9+gZMbDjfzfw8lfaUgMsi5ewmNu2gsBIiAUIrg6iz7bw5u1Xkiu4PhZ5aubBtweC/fuaK2Yg+0YTDYKIWaun5NkJ/Y7l3iI1bvkhQP26ODUAqMTAZ1ZwmSYsWKIy+bk2mHNGqS35cPl3QhbHy7Uzzi9RD4gACBEVcOOZlxZFxtaH12QBbEskXyUWCFBXn2X1N11t9Drz6EQdRs254BkFhGqXwXLMfMjZVtJGUQrrLgKv5jLhfqxspgDerwWL7fk1s26a+iMR8bmz6gMigdqCbsld/xHahc/dVoPxW2qinSFKIVzHZUXncKYyZUyecfVdYPs3mCs0SPlRopC0udp0AqpCDa/Qdw3l8ZP74s0vsTw0miDByI4bqoN7UJ6Q982NBPWv/i9umABHgydWLREzdcY9jDTunSxk8ohP5m0xDKZEWtsE5cQC6sCVtpGx2zx2vdz35mGeMXmU3+EbNENczIV44WnXhJ3oSRUTPH34DjHdiF5MkHiy9TIX6hOnwaXdO3d7AzLIuMxIhrZa2tNu+ReC3GaUoxuaVcneV3rMoUYjo1+i7fceBfBC4q367AdN2QR5QCmJRwKCE0aJzMIT3EXerv3v6ndV0jG8FTUNMvlHZOu8N9wIM6oQ6pmIHsvVIUefbO77E5Ij/nQKAPlxsszT0PKp+xW5jGQbsQr4d6d0N2p71uNwysZekDHtA0vXUzEDwTB63V2Yf8L43x1y9XPSAbiGxCKaG2m85cocKmhILjhr3OgAbDOLKxP7/PUvYdW1ZF0n0YwgbrHFU0sEJoU7oyP5+07Zw2vgHQ4na6BqvHcwW5ghm8GM93HbWR+PrBLGETYAQBrNIZMIfz1PcmR6Mw3C3Vrcldz/j5ZPj0tqcUvfENgv+FmSdVjzqHdi2h4ct28cKgx1rZBlwfwWSVxaYYMAhOQGNZpLlK9HXw6146WvKovRxpcZT2386sPKweunNxf+qCcE1dM2EAy/sQJbjIAT52fgw84/s3PerjZxl53Rz8Gvq4mkWpKIEQ4LkelZOD+QSLDSNWGIGxsodcWccoxVreXMo85gLT2OOvF1Z7QUj6oAOi7z09R/9FOIuYsKALrIwLIlKuQ419904IKGIjSpJ7wANQ30zz0mnTGoa6SsCD+qPmw4raQaCUucHFHbYD2fTFZARmQjFzpECY/VnPQQiAsOj7xWH9v5xj+J98EnK9Hs+5B24Pi6CppQAZ4CMIPNman2fOMen8EBsMDyBT0uoFhwu5tiW01s29Rcr7m1KsQVptELVSSMvMzXLKAZvWLS34q3YOASCg4SfkfgIacHOp292MB+LOWUxbF4v6pHmte3QpumsnkXmXtITKuyfJo6C95Wqv3vpSw5Pksb48ByiXDIl0RxCisYTFGAycejfMA0zGGnmM+htu2NGOWpmLrh1rOPO9bgka4zjy2NMAWPppthPmaqp1KIlvrpXittztPYkRtRCxD/6N8BXUCq6WwiFdPFt6sz1Hz/8d1+6jQpbfuJrZy6WYd3AvMLakSR8DVZX+SLL01EAfT3r1Fkg2SqjFbT7fFliooZgn87a2tyBemWu/Z858Zk5zdsdhMQtLF8bYCvU2/xbYld7QMYfxV5zf2l4nJWOFG2L+dtJKatz5SCIn+N9RVRq1PhqSuWxlsM3yLzt6y6akhmjc55BwoFeoSuHmeL054/8/SGiIawkysxt8jyJENh6PWbzfmROqC/k/Fw4fGhjbP3F9Q71ptCNF8GKu0Fv1xXo551nW4u1j2mVNrWywRMxbAKU/elFyJJvR0W7UhavuRbsK2qtfcA5fmKSbofNI9p/iyhLr6eL4kp3HduAumT0CsRyjcqgEVw+vlZTd4G5XD2nAgXa3e/XHn2qq+AcaCtPGgA3jw09yZ3PKRn6458RMrgB0GcZb+2uI8CN8lT6+s1+neoFoRFylm1KClmSKfKngj4TJS9RIUPDQe4N3qp03i3kbka9JdCcOwMCbrVricc+3r34VyJMLrFRsN5DC5RRjykJoqQX4qmWR890qWOMQmwYK7HLbkNmHtZ7HfBsOZl6iN2QYiii1lEhHNEUST7jRlciUShc6cJSinaTgFGkLll+D3LkPHDgmQb3ygQ5B8JsdnaHTatGG1U+kpnf5h1j9a8zdvxiK9MHUTTGK04CifjMaQV+kQ+piWvE4xAhdNY+vckxzm8/zjsd8MDgphHIsFlNRylyyPJqVOLljKrMUJxxamsSMecfvBWHuegcNAzKW2+ToQ5ppYvUv4mpZ2/MW5ag/DCwwuCdXFIw2PZy9PGtcw1cfseNH9hdyWE6uFCdENQfGn/Sluaa9w/XDEsMZGktbhLhjTR+5QjIhQsdLPoXrX3+I/roHFQlIIqeUDWscs7854bwEe2pW10mzOhg4Tm0rA8ZwfXa5OwMwItFGfr1prvpJz7MMh8NQvOrgVQ7AiiUtBaH4kOKmoxEA5YJ72ameMxu4FBPF0x4C3N/9KReWjod0GBSXDgV49/uT9Rq/faLejFOLJj5KBUTLELM1qK5dRR5vwp2ld3S5n1qKDETJaW8+lpC2JOOi6SqlyR9941sf/cfTbp2kcwr3s8M2RJ1gJUL6RneCDHzY1gHmk6MxwUrHxmwH6XzKJIb3X1OdLFPAtX3a8ljitOGR2AAOrBi8TVvyP23oKzjO+cwKeR+JGZSwfqoZy2WbgfntZJhrssDnWKvTlAU+jVG604fKtk7jYN7S2TfIhwqAvCGxieInu173zPw8kmTygLl0k2dbdLQ55JEvhFftixGyQLUXleahH587LwCq6SRReEGcN/yjYN9cTmA6Jpk4l4cs/AAA3uvU1iHaIajUDgVdikK4lYh+XXqHMivMY1/BP45vQllbdSEfwpY1ukHjEVbWwzzTfZ/jtk6QyRKN2d4LCmcMm4M8f6tf9ETSEFqZx4nDUPnbIS/G97Rnxi0oL7Vk5prHrYrL3FR+PVS8vrlfEaXvPvjMkVlJUtafkUp0kYJ3x43aSS0KYl092KaOSQAmNP4gv9wla3NXE2PCqEt4VuaBoNUE+7dYkxfNQozmiyf7teEjaxitgRgzyqLPrVd9F1eeWwCVDtCjP2MvSV2iJ6fxAEuGy0w/BIN2sWywFfwtBZOEfzcpydSEGE8ova5YS1wFTEZtixbd2/IpcegkfNKw2nmEKJCUUUO2SlS+kpUBL65dvJ7sAKriQYfedpBJQQnkSeN0TqSH5TIwEyLMq1uaiS6uvQXYYP/UtRdMJVk0En7yElXA5xnvDfLapA1C7yPH+ekJjmGKTaJ+jBGL2jovpk82fZORWXJsfK0O098vhdo7yOuCW50qQxchfd/V+WNfR9ULvlHjSzyYtiz/ujAZQSoVrv8cgQZF/4lFM61uZKm58olk9uWuok8p+ya0CIq3njYJ3L3JBGkJcAYeZxcwNID+uFfeNLdzcawGh1qZeNlkSD12AO6nOWZ7tJldMdWMjAtsQ5NaWBaVCYOrVyC3VrG1VQlq75mkbWVnenM2nBfpGl4lirmEhDJaskGGbJwknQmJCqNjfz8vAwrIYSz75pG7dkB/96wrdOF+5ttLJ0tudnBo17I0rN6w3d9kGbIdS4UvC1ooj/+5/EFeZQnxRAmtbaif30szLZWajioKZGM0T62+pKdSkvQyFJCJ68HZISREv9urnYKetjgaEe84GGfv6qVshFbdCO88ZahxoT33eTsxXh9dl+uv7FbDbTi4Yhg+8PNIBT6nvHsAFB4yL/D7+oK56y5hRHBD5rTbQJ8hjduFPDLjHVnB3/QtCFbB6FAD4XHIF2FU9lPa3HOoEXOEcUbwkeQ1a6XE/HKgvvXRc/BS84BZN9u2vO5NexU+PeCR9DaL2/zr1wATR+3tjh3yY5Mc/4cEMOwsWnUZjErYMHHujNeIJXdQJjDpG1GQ/gLw4eXUNLeGSO5Zgz8LOPmZW1e5fYjMS0KDmjQlaa76J+iQ791AfeIgj9gR0FRsXpoO8vEP8TUvWZDwG54nzYy+gGfKqYqMlmnz5sBAfEGHmcoQRN66CrpMe1AvlUIzJif1Uj2Ynh2wiCJkcjD12xk9T9SaTbN9vd9Wa3atSOLPHn4F9Xg2Eri6TnsYC+j1HcqJNM7vGNO2E8OJnuxEV2RlPsKVedZicySgEgxwOnvBHpOlSYhuwLW1HJNEqtQ3YARoQRrKDYS2OYFnZSjNO97dpp+Z7+BFlLBw9qht/u92uHnLwlTxbXII7yrdpqzKsrPCe3vtI0uxxTkdPJeKUpOfxtQxUchf+aIQBSRaxLKjqQdhEiuQHLjUHuRo8iZ9Uq+mc0vkP8mweS1qecf2lcnSsWRy6wazJFzvu5M/hfq+GJC0UAnQFaj6Yqx7Ps0fpRMRruioUp9WWr9yn5DpBL8xNBqG0jBdr1C4wkrVgop4tn4LBAB1TNNwiw4SO7guAA3fmOTXGC/jWUBcVoXwVx1x9cgOFkQe3vSsodZ1fXyxuRvs9e7pQMt11KiCatt2FewbKqgMiZa0E67xfEzZJ9IiowBU1IxCh4uPCcCfOqyHilXHJsmckDG6dZEN6i9zNrmS5NhTC68pGN6wl8xDb9g0ljmYABjlGErdw8I97a9k8lZeSFz3iqyGAkW1RIj/o8yYTXX0/lqUcLyYXoDsd+PLfdmQIN5hfSOhw70faMx73qNKSzGirogv96cIxPlcbQgvoe2HrMHNQn+wFzt4sNSC1FAgXBG/Y+rqfXhEByxHHGUXowvoqnU94b/UomGVxy/BBtbEGB6Sj+/JRWok49xF/zOsUkYinp7pwGqhYplyb+wNe82rJZmy3gzFL4ylStCKSTIBhIMNaMPdfI2ANmwcE="/>
  <p:tag name="MEKKOXMLTAGS" val="1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PICTURE"/>
  <p:tag name="MEKKO" val="MekkoChart"/>
  <p:tag name="MEKKOEXCEL6" val="False"/>
  <p:tag name="MEKKOEXCEL7" val="False"/>
  <p:tag name="MEKKOEXCEL8" val="False"/>
  <p:tag name="MEKKOXML1" val="4HooU0THZk28POP9trq+pbTvvzd/gcV8t56cq85kb3NDTsUhojRA0EsgEHHMH7oYP1SYpn09ysXVivguJdhTvfyVMsBLTGvcX7WPTor/CmXfOtOhH41qEIghVTfcT6o7+LHxt2iMj4vD/tblS6qzJ/OHdSMGn80SAkSMQY+vPsTFBOXVu41tbu8+6L0VwS+f0YXQsvhOkAyC9Q3nWduexXP1SnER2NIGshevehlmtKd+FtrOgnYeeOJm2Vh5Ae+y+xKhASf/IvnVfgtmbX2MyuTiuvk7voq6Rh2cOkR96QxxeK5kgawCNtUErPBqWVpcRxY69QRqLYD0d/R3mcrF5ZRvjT9yV41bhvRjGKBaSy/m+yRT4frjCaxVaNKsjR/f1Ci1c8I//o14A6hkV/Ahy9HetNYWo059XhLhcsACwOVpCafS/IFD0uR0vAWLFyIUM6aAEu7CFhzTxULFIFHBcUkvz/C3WJ3lqHf5xkf5MvIrgCRY/QZC59BgzxwSxpecveb4Z7fyu70GTl803C8LKOyGneG8SAGpfUeG8WTp+d5apno3MIPTLE7KMQ9EsFFjSSMgMzKZME3yGQWBjFFq+K5RQO6jgOfolyWl07nDmyPLnzZXkljID715DP1QkKVGGBxtAPcMvXCINYfbJaxiZEuEmvozCcM+D78yCW1oGrDvzcCoi/iKNKwlNfiJrGiP2Wkv8vRA20li1rE20I55J6N+kzaqG/T4Tqbg7pBP1qvbkKy6QcLMq7p+Im/jISfubdkIrbLvoCnBp2UU8d18ME9B36SAu/nBq7uLY/5WAtn5fOEP5e1NXucBNp3eII85w+hQX2UDUVEhzDGT8Dykg1WTRgGSonSfZFQ1s3tfjsnmTz67295UGft4nhjFAAH+NCJj4gy+/o6Y1OuT07EDztA5Aa/KAfIeGjR0rj2KaXGj1gV/5e8bB5XkstaeOfZFMIZkWetP+FEoKHtHAfcRBO3Zze+canBqeIerfztf4hWZrWGaq0dnUJdSjcF+uuo9A5kHwK5FbbbIFEEYDTFaSxO89KA5YMKvwayObowmaY/RpVT7B/iiDfq2AUIrTlClahO01GFYawQj6vFBpSCYh+7CxHoa3pcm8UsH9hpdRx/A8RvFfWka6qQdWUjB/xIqy0wZFHzGLyeo5MKXRkblAUB9vFYt8xJ9BGEuAfgXHA7yvyWWamuFPhFCfctvBK6SnZSNh8ZOzzq6EDJco9UMX8Nyh3/b7CpYv43d/61qk0bm8DyV0nwxiGoe1m8DqKJneHRshFE7a26MWfy59pNOOGpjmxmTy4J0aJXWB4JlDfyEsQHvlAVArG9Rma9aSumVdSO97cL49ZBIlg7qQwcvhS0A4xDnAZapCfUJl+rRfxvvgSsI89Vbzo+Jv9A6R03uyG5VF0esZKY/FsXryYJwDGSQOVzkfhA0x6vOcysI8Z92jJwcdL2SUiGXPJPX0KDxCPU5kWTcszGXuycqMA/MA6Ao1n7/xR4r1m1K/5EbmPcr69mWePM944zsqps0T8WJcDT3SXnZZdZ3c6sZSv/9aQOP8HSN70+6Ubmt2FW8tmMlUw3URz67VKGgDOHFn9jgUh3bjVzDPua5wgfmv1/wAxrEG04V8F8MekjpA6GrXem3lkIfNSPzDzv2h6/OhhYYxLkXasxYMtuR2ARs8TOGXoRS1fs1dsXx1TsFdcx+RMwA8RhIGl56hpfhSQBERaK64Yapg7qOS/I9KL8WgVOsCSJ9Ty8PzeJfhG3EnI1HruQqHdXTJRPaaW7d3n0DtMuDh0ksG3gydSN+Fhc6JDFfd/Quoet/UEPtmqK1UhTG9HGSZPMAX3TIkivL+uUoh0fLor+dr+RBkN3tufL9O/uVklR75NaubomtyyZuKufQATwCmFdXpRKpvBFtpiXkkpAkgEK6d49aXDOQCWyzn+Tm87bT/lRPke29bvs3ez8LdR7vRxtzusDypJGdLO+HyEOHQ8AuPXFEPB+gTQUE4+OB9ZtbSu1jch5eY4M9ujzpBjLbtjficSQt4eTO1S0P/NExBEU9XcQRJ9xeceVnlXQri6fs/OKIuDA2rnjKnj3YYcOCpCB558CDG2iR2b3FPnBUVZ81hcVPnqTX8ALlNkpYisoSojqqtflBNErOVSgfFzNqbP2QJpjrDBBPX83szdMi0bznSSN0epFnfsZuE+avdj1985C3WoCK/ZqoYow8uYtLlByo6Xnj4EsJ0vNfo3lH0byniQzVU1xzMEDg2t+dps2zXCKOn5m4fOAVLW8SdnoByz6/nkqLPi6YRr3hSaHaCyTky5714LaMg8X8CL5QwTFYhRSJ7g5xpFwSErQ5C8rOv1mKUedUBunBYaTFwLVhkjPzPnOH3jvTe3BnrzJulW7sbtA5lfyVAQi0k2FcwAa1LJFivit+DYukqhLxKViitRbB/dGzlIbiz/rMtB5KPuICao3wPu4eq9BLNVzdZe1LqNvx6qYYXwF+MTZ7fB5qWG6u2ypCfstFovyCvPTzDd80q51QktaV2pjBDaAIpmDVohfoTo7j4oc4rSM8CpN1tV3GM/SQTFHoomzFaMc4susYmnsGlr5ezmfolvx4ckGpGPjSYBBKSmF12nMYtYTvaVdPrzO9MldfSH9PYYQZDU+fByb6ZlPNA/5DSaL8Lq0aLNA9YBOgaK42aWg4wFNz4AAH41JmiUWpvNeU9olphMhsNy4CulzETERD/Hs8R0SMp+T8+lRYWxA3Z3z3boj42Dxr/93KZWbXERd64/NTgbCKqBpKoTPDNFBkSDzYwa7wW9YHZSH1PlHAxzCBMKw4gED47CL9hC26OwUJG+IdMQ129qSJ71OkWxtbQf2cuwH/WplYXPvII9f/UXecT9JYQO26dzNbyr8vfjmGalrVPoZwBWiokCDdA3mKdb0WzLYTLzTGKMdCsB9EyE4kUf6z4wD5rYGle55yTNtJuKDdLJTqwi3aSImP/wcO+DM1VemTye/fp3PeDwnEDHsgfYJd7QFIFEBXIZRYj9T2vecLB1H1+1PZzDCuAXlRjag5o7aOxEoJxjydiqsBS0hASbpyItjro+xO5M5kXwxsHr+esJt1faapET9bEin9ZB5nutGCYQUPldafKbD1a+kr0OUYJ5vFRksyGqxsOnDmRS4DPIkN6cD41sceEsc//sj/L5EPw8YDjcm5qbIJieANSrxe7XIcMTT0ZnDNi5HfbgygiztA/7lWMmFVO8FzinbZkW/VeysXcHKJYcYm9MG6RbnCds/QQZHvPKLRpSOH1SqbwYghyES4CYQQ54temXhmCfgLCaiNomkuToWL7VPt2nJbwCkLAGAViKkTrZQwHFR1uqaWfxzCtpurLw5RwdHHUKmdLLKLEvNGSFI097U4D1Hp1IruR7BxPV/arm0/hMoQ3HPksmr5+jQ3oGcgyCUI9/VIDV5rXIkEfc5HXkiB3FNxi8M3V99uaf9CbswhhvW6n7vVL0peNenohyZRVUtIy08oCe8qAWIUoqnrO1B/tN8Tb9dABfRxmQ1KKUSiaTDox6Ej40/2plhDhiaosRXhoOwAah9bPMm13EjVxrVkN1mP6s48JbY8ZykWKxpdB32dEr6Wm6JmIAp111LQwHwZ1vKn3HGdEA5kDGPHn3rAz0TVvoN3QytGMn1r7+aR7hxtOjyeeWk4KTIuJmWNYvc6V9/MfXgv6QxIVLDIJw63VKmhxdgXu9Gr0HcU/FuwTXO5VLwsC/UtTan81Q8GQ/wX1YqovGytUK3IrpTDOsAv7hByNdsgLEWn/+mbVIIO3fTWEC0+X5Ht85NR34DIMHztHSbWxGxTu0zcD0+EoDcpA3rs2ITo4bMvx0hpHd9uspnDfT4VCsyqO+8dlr0vyos4kOnkiXJnsqjIlWgTAV8QDthZHJdvNDyZFNpScsy8xWnUtjBOdwuXeizzf6ZJpQjPdd7O7rUUsR0T61KhLKc0EewM/KZ9X4LP7Bf3H+hWwycChseOn9Ewm5X6be/iCclNgueBNRWANmQX+oUbChfV5sD4gdDfAaPyQxxAcX83M+4oWaxFJXCJlzvRBefQ0M258KagLy3+CvR5X7q4Zj943gH28D2kmkmwnAxnTon/z+ij8isWF4ynSnlC1OlJCp/qdMVeFqKGD2Lxq3d2wvFirL20+U9okfm4qddTLPAvw3HYUejJfSLjDqewV7WMljJSFiwT6+s+wsZYlSe7BIuqE+vHFKNJEPX5LpI7XqR7mV0SIw4BO4E2Zp0EwerMvmFk83oElxg6IQpV2S9FXHFkPHOmXolHD6UsY8mj4xbS7jaOv8b/u9ElS/LCmaq6FUUr/ejE4GdYD6GJKrNUvFgvIzly2kbk1U1WTANfKN2xV0BLVRNRi+OZKBjSiM0XvFVueF9kc3F2F5eAtVGkazNGZHOrnj60U/rgxgBZJpGvvpiUjUNKZpopbzj7oekfr8h3kGXSGEYXuaAoWlAyd9NwXas5f4HXMN9b+Vs/vEvylzBpqQznkXnlWh7RVPP/kYdMNomWqebKYrRFycB0PCtxVcRQ3D3e44PaLku+Mu7uscVBxy9Aaz+8nhA5KcSctKnu3P2NP/Hz2DGwPkupiX//ChOv1hfkh1OCiZXSSN7CJRpXuv1TeHMZkG7TUCKvARuZto9DQKimtDDvRwJiYLxTglQvqPUz2oyBZ8UVYEcDz4BLOiHrHLP1TegxbF8y1twgJvVlZE3erxkXDb8vibdp4ghQv0bLjIEh1aFqV6KlWngnU1chghOChp/RD0zSYynzP3vhFDso007k525nFfr+h1wP90s/theWsk8KBxOLS7BI2ncWiGJxWISlxbP/e2jnktvzsVzQ4HywemxTPoBLbRiujpCDYj5mHODxNIsGcwCwrOWc6egj4Fhm6cvHjmPq+C55+RPbJM0pzx1iIyRHsEunfgcJHQ+Pg3IgrlQUb+Ij2nkJAeXTjTkyQa6T8QF9rqzfNTrxdOLMktv61bAonkiLFL5PM77gX01rPWZW2fOxD82JJnKdoMhegKDgtqjNWiVIA5dEkKwrkaRpGCcHhORcE31KgcbWu6MZui0zm/K1cd1v5aLF37x1PVCVLNiGtHwrfByNSAUDLll9UgDpQ+UCYZvDB89hvh0Fz+I5eWJlcojwB/wouuoT1zMH9HY+upwdSwMhKuKBnRVwHLNv6seDdj3lwNlxV+E3+M5uBOELnlgC+7w3bpgXKXt1BvsZY4NhhWzpchRWfhFN/qR6zDPmNOYjmeiEe/oP/oQYDNH+pvLtc11FYdAwBLgoswxMnPMvu4Dhm5SCm380R0klidOCEo5Zr/gHmLzwqIrD+jioK0/A267fddYThlj+mkoq2pGgW2Ws3UClhgg3jxcx6OT1wMO7RSFsinSzH0+BpqRadC1xqd4WgGX29eqD5ZvMgRvsp32Z3eP1R1uU4tTerDHg1aWsPJts4Zw7WCQpbAE87gnICGGxvmPwpOpBpm4TyPTbHzHKG9FWxnScXsETWX5hlaBNEP78lMlqEdrQQsZ4WXCUJYUbWM9fcRtqeOJQQ+OA5CE+YUwdz2axMaE2CMQnDKA2UHQ75PVH+I94z+lVybRzDS9Dr7NMvn/N2vJ9o5g/QUpT3jf82u04WnHtaQm1vEJc8IbutHQfyJDPPn9rJG+r/l9cRkwcrUcQXMz5fiAFuch3fADsZ+uuvoyVGsI7lvOgQbqrs5JMzGrxyvZDuy/Lt/Zz0C2lCvm1sTt1OcFmb1gB0E2vEh9RS6Fuq0p/MyTtlZHq/44qbrAXwqdAQpqg20B6KpLXnkK9NSnkj4bPJGmXvvvWv4PJICJ6D50TbX0iVgqtFunEH37oHES5NrHGzAFhIkGxjgD+Ubz4jhr4UE+0SPE7BEsVvl0gCOks/Ws3Z2wvI3IFxmYgFW0kwT81FTAOKTz2AmO7+PBMfJN2AN2pujkt5VgLWEWeTDjI6VAOyGN1w1E0Ksr/6Fb++mk6uS64uDFu4Z5v7B57p/8xhE1bA3jsuvUaeb6v26VhT0cXfVkp973muNUU0rvWbvCRaBZMkOWtH/Wv+SHVkJfq2+7JXf4Q92qJJzVU2SK0ZjHUGxsVjXNh80vPGsqlGBH5c9DffuXpnK4k0X+2HM7g4Xjs1e8f+3bl37XFuHHPANwGsxDI9811MjTOkTj+KCOimrb0vF21lGz28EPlGsliPnvOaEjQyjovD+WutsG4xpFPU8AU9EKtALpLfuy+IWIABnu/mGTFU4HjGyi5J8WYovgBNeca0moIX00Sw4RVysTBr1E2IwoRFL5tEAXs1wA6w9kHXKDkeECmoof8Z40TdYnb6PHOl2omjFQz3uVX4Qh/WmOvDT0z5lBqR/WTMDoN5mrx7E10QOUkKXq52j+Z4p4mjRKfET9x7JZgL27PE9BAbMDDcUXk71/MhX6z7BoaNhv2NMG1S0qAzxc9T7CTm1PIr7HUzFjx5diqeDNjpljOomu6QofUcxQR+ZTjs9axGrfNoDzWJtvu1VF5AvD6Hg3gl1jLg+1fnhN5nYOp4bbHi7IIymhmyKCJaJ8vXiUmQzWcE4hAfQPUtirCmDMaXAVyaZBYpCj4FuJyqIBAG703AeJ3U7md4HEWjhSixinVzpzOea5nE/FGbxBpk3WP3iE0PqqUAO3k7t4R8yJ8vYBVLbZpAvVlEDNraCIos5BPZw9inikokQfTJUSof6AvK0mzGrBbLiygF6peBdCeUON+12BdA/+I3adiYaDb62UZ4P6IWkoQNtzdt44kD6nRjZ1AFKDeHrgUdB1t/4TSodbSMa6pdkWw8/89vP8keUMir1jZzDPhz0krMolns2t9112skmcAGMKB8tacF6wViheQR4+soX/3ExU+CuJaad5Qji9Y/lb/+oGbBSXTRt9WqGB2RDP8u+T2Hh5emoLySJQYLYCi+3+NwhllUhEkjfgbXfsIWKQJEaKcyq5TpfgSydkqyfHUPdhFe2RQ9U+sV+/fd4EZgSqkxJImNFwbdWswX5q3MIXrhOdRSS4ZlW7wUMsPYHYcs5hw+vPlhkAx/s+07BVhowR/QZWXFTgwn1KvRIeYo+0+TNnhYx5McszJfK2A65rTG++EL0egutVYu6Rd0dM4CBo478HIFLNV7nZXGlaWToQjQr5wvsAaXRzu3733sc62jnMvbhP/bZlc/IEDNu1VcADdc30cDARpKii1KcGdMhpSKg/LoTe7Jo7bB55/26RuGUZ0c4UO0wx038pEjhrCBoSdbLPQXI6g3kHiTzbwV1dFWwoX6GGJxdNkDEZZe2YvE8qEduySOIwOO8zSPTlKeiqJZvSq26sn8qlR1UHztKE0RAmbecCbVarp/O55NNHw2TRP/ZKFtxxy+hdroHH5SCNJpLSiYiVuKzE+HLS3YDbemev2V8faydVS9BrjVZGwJO55jfaBsdkmbsBn6PkdguhqWYmULmjrHoR4l0626cPy5yMkPs6rS6boDonwzdD0wAvvjajQfTz/kUr85DxuMEqUN/kPVEpXt2P0j4TVc6o7YUDXSfTLTI3HEprUgHfX2HziJfF53R5+MPKbheMFWOwPd6aEcfnKavdbev2I7+7bk4tS7NFxBPq3MlupP1ZMofpe6/bCDMAneS62aPYa96Wr6rB554b+ztZzxSiLrOHQLfpTJLs9yiT6UzGEj/yyTezTXkS0MMKBkSOmesqAYlwnY78FrtOaXexC9xS6ohoZC3K38LUopwFCs6mzvIIlYPZyOOvuyiB0I9YVqrFxRz/4KUtEPWqPm8MkKG78xVT8R1SKgXHzsMS5duHLXYr3ZVDmPD9HxA7n/pwN4sR/viXktu0jQjwEGtQF4sl9ZYKTPkgcHfqZiXrdRIOAJhZeBJncHf8OoFijrczyuLPPhf12TduWTYKKZZS8/nbfH4Guc5jCszx2yyysCMuOL5y44Mub0o2EAcD7+RiS2hMmRL97VOJLXY6Jr28r4kSbva6WulQt93HughyB6Q7jySWERB6M/4JFCoBoMNb8GWd7mtVYoYKwstTosKXPHEMwmvU7NZ/KOQIcUUJKjqfwmD9u1gdUuudHVZ32VY+iEM/v4KdelAKCovtqXbiYp5guiUAwlR5kgAxlSygY6OtRRZzi+gTErXjUqvFhJYtEDDx2GqI8ckzpUQaDgTb/V0MVmZowj1HP4tMOeIOfbAsARLADMbD/j+UwMsIQWtrv5BkysDwkGhNEiX+jKWMt3Pc6QpxIpHKCS9Ep/npAL3mkt+V+x9SFdZfC/x0cIUUB0aRdK9rcl+APi7tv/qMWD3jnxarv046AXAAT5EjtLu58omE9/odoz7szV4/qKUKNzfVJyg3bIggnMW0OzlwFVVhuUxM+yhRwnnImMoh2+WLCK3JmkXHuJUIgAKlMkjIeegG444R+pXkjNMNTJsLAUIGb9jJJcUYlfFVzBlqwDIBRHQnOaJfr6VRYH0Uze4XtTCOX0io43kl+76vHWdSpmlyyuOBk4G+Vj+QWNoqXPmJcY0tOCEkNCA+tD3JCO5FzTDgb61XK3SXTIy3NBEyot/3m4fqRn8mZk5SR+cQAh0O7ERFlXUtPfJxhQPr9mTv3IJP4mRMAKJvhc4gaJwwu2YwmDPPDAx1DSwtFTZpNAPruKt8yTePo81OHd86XIyLyb0MPttIKE5Bm8p1ljcwwKS/EDCnReZ3y0FfxIj5cMRvmnHPemLKS2S+Nw8fNEiB33XKrLeMgdO17znhJfjAM37rtYTK3/XC8iQsiBbgcpzyQFac1MO4Oi1H/FvmmwLZWT+ufZNW8tCeDJQJR/VxSyAHjZbe13PJ1Qi8TmNuACKj7sFJfZDEHJFA/NHUZhJbfTRgb3CJeZtI6MofqEkEhCUHDBk9BDwa4iI0Ygcd/FQT9rOjimuDBV4asugeHkSW0d6SG/4XPptHmuL+jvgQIPZQyurnUxS4fzHdsxyg56ioj931befyzmkchSth7Ftg/oVTJv+G8Xrbn+T6wUO40qBMTsK41ec48sq2SS8XyQl8MM12kwIMiGpa60LVtjCZ/H/t/vLepyueH0s9JaAfa6enene0RYnJ+sgvMsFgSxBdtzmA+Fc/saxmLb9A9aP4la3oRi1ykv/tb8nhtXzYbNkej6JompnGKSsAXjeDHEF/73tVslUwPFRhq4BsYYQimGhgymktyvpZPRGviQbqxcIVbtAOFbkXR+Y9sYKMzyVF8bSg73JdQ8I2JCKOGegUXMg7oNw8mdv3ToO7++BoBejxjVPt1cPp+cP4pcaEDq9VrYhsRj+DtjMrEd3n6unh0+mnu8zAMjkkY3IwREpf05eCdqmHsslJ1MP55G5210ukyBCo66FeLFkMn9HeshqMbAqS462xUxoGBdElcVd3RarxokE6dw+SZrER8U7Osm/ra+W2s5SaGg9Q0zczlq8r5wVMGUXNOrWbUvCe0Jrdmwa8kc5JFVLX2SPFaYq2StnUMCl4G9aDGRojGLAUZi6kQi493dyaF4/nMRtiEXpkUEwOqIFBExc/j6wTU367mGsUiX8iz1HwhGCyAV2V6b2d70rkzSCOimn7wM6ri6hdSiMARdCKMDEl+vEFost0LwiUnV9JhYjuUJsEdSN6xj27RxOYke6ZUP/lIjbqtsDWPGfaGVeCGHWW7ubqBBGu1sl78CQhutBGUasqwx5k0pE7FPqLomhcn5vD2SQFCgYPyecPKysZaimfvXYtOMNLLd6eWm3HIdXLhLyWcNasnKx9Qe0l3DOO6/cQxbUd+AoQErHYlhA+LgJxEKncJwkcQ0xqIiWsNDgLBJjrHt+Onp+enjKxfElmbmcX3TB+P/Mhv6Hge84J8lgOVM07+XpgH7zlNawJcS3re18IZBfgnPi+tu2uhj9JyAAVF6rvCetntaJHjRSP+jEzA7sfOjENvKHp/GXpHLToItOUdBBsCzY7fSCYMk3X8W/l5oCoIyW5pOOTcFwyQzFBKcLTpTNmTvbNSVHzqpYcijCU0XRZDtFq5g+Wbpz2tWVoyZf6+PynpDYdQV9zHzE7eH20cgyXtm/YIB4+yq1Rl4M2lUa/cFjgh7iNgKBh9QBg5DFmj6V1VoaBecQP7veZi+9Myw2Z4ujmHbpowNdKCh014nvPzLJhrfCbUWeggOQCXW31VmZBTIPQCpVb/uCCQPR5agqvxJ3YP+esasQFVt12gqFCZPmPd153ROzOfsoIOXH84Psd29YeDMPBNJ5GyOTWuz0dDIoNswFdgnX/laLIGpeUiaH8231AuotXX0GttyVVQRrsuQBEegZXIOpYFs/aBvbab4RqrjgozCUUlv4voS6K+M8hXYj05nUsdG3gmPiw4sv6VmJeStYrOUJew5nnQv5g0rnC+NO402khV5IPCVUpd4ASpDOWNYmCy46uW6gGo3+qA3u+PoWqdRL3GyvjRLufVIEn18HeniY+wK+Lhn0EjC0HYpOwz6b4+xRJmu5uJGkaA4c+QEkk/9/ZZ4l3CBVNYYAueu+SsvtyddQHt0eukefttxloX6FV+msqQfNvyiiu6HlsaCfNuBr5JBUmncpE6amSL6CQuIr2Epw+KLy2DOUIEHO/du/56R0Pg8mlpqovCloGbAzrvLYhmS/+uVkf2Wi4KzbOfwGg+BFVOLDojyWRmqkxYmmIAcW8qFyCxw6xTKSpQKA81NyNQKp4z7Exvex8rDI9VJfimDbs7uqvnaCQh3S0Flp49B9NU2x1J8qi8n6OfeMGUAd7PqpWcWYR7HefVBZM+9ZwEkimKrmSkCgJh9f9rbbJKKllmQ8xUrj7/ix28Es1dLkyPHa3Y2Sc0ZGeWkIKzRnAARGd43hqkGHKCQ8tHU5TOKmnhC/WysffBnKdJiR+tWVumtV0GRUeEjnl4k0FRBCci6zP/ADo3RbdQ5hfPuJ5qN82wUyvQdJ+5/zHxdyOiBrXO3nqRFsSZYP4reiGozLzQnUbXqIGTj1mYpHFPoa/ykTIh7146gydT5S+yeSr0PDGRXDr4ubBvzUdFHVWJ0Qsw8D6NZvyt9iKlV8XlznULHB15X+H9wap2UZYAh6SD5KysmeVpq2QN6lWDN0a6a/vDX83SZ+hEMxi78XC6g6P+U0vAV3CEMZT4X+e9CzEl3n43QY3bipHvbdgxscYOkBbcIzPZgRCsjviItKtIq4KRsK7gs3eTee0yrOWzzvDufUEB/jSytF6+VWeQwZQTpxZkjpFCO8ublnHNGVc16Hjgev9YFK6TnJf2wFY1Fn/1ARLDd0iLAWM2q202Qlv0lTaY6GYY8sKH8dGdRwOuBpgFzT485l8FDJbjtX5F81fupUjkIFImGTCkAmJjHG1MFHvx+MLOl7ZTzY26S6hazsx5dmXDcuLLQTqLJI1Ysz2acLNhPBP/uskBdSfDmhyXA2xWyIOFPS4i0ocxok+WWjJXvSt+7tlFcqCMY9FhOT9smV54oIRoCmFrFDeV0Sr1m6XJeBWNoU+UGTmwAbjG3ImECL02rOckoCQyYONgKZv/5qAgUWlQGdb+dIkwfra+Ff8j8Y+wynl2JP0rR3mic9npje0NCPdAdXv3Yxd3Zk+POAtyFmLwbp8KfXP+pRq852JCURNcSk3dh0gexPE9JCb4RCWgR+/euqX3tCGhPzX7MrQMq3CdoohBqj64DD3+UvwsxM5bd00zb2dwPWPAMpk0Tfw53JyOZOGVLVqUNpexUmSp+rWoIGrGUFT+GSik4PNKbIV5FVpEPMZ8/nZGkh1Y/51rrW7JwJ4gQKpryb/7M+upOtmnrhAPzJKzV0RypU5c9pKSVhPOBu4GP9PeE4kFm7x87GqLq6P9neuZZzgADzgyunyFwRDHhKVie7kKDU1VTzmCBYo8lC5d6VF/ZCfnnNe9Z2zxFEyrkjHQ4JK+cXig4nU82mQin/2BoPcT7GNbvnDpdWsETg8wrMSaLoy4ySQwCtXMIPaCnItNTc6EXF4dIWGiS3KZFk3wcWgZ0RR2iIdzYk9PZ7wT6D4Xgts52nX7UdjBB7uqjC6yWL4tO+doFAlD4qAwznnxao7CHGc3EYLT29tgEJ29N1WtDWiexEbB4JEWLudhH23wxSXy7wDyj6hlI/tr5Uh1T+GfmWhkuNAxB8PWf9xRNAKY+X906J7a1rJJ+xu0iBG0VTIw7ckmzpiF2R610JoIKccTiIX2UpJPoUEbAGqC36vxMfZaGj6lUMLGLXhvldITPd93033Si87NQ97FlXnEhO+KiPr7dZ8coJzXUccAET9nPLEqzE35X9CoplPhrIF3RMyqijGdA7NX4AsUv27AOs3yj9sTnXXVlNKRN5B55GGWj17JgKfAf1FhWopYfPd0YOPgRm6Fayickh79Sfy5ygFkfwYO9gca0kigL/cdgG3EMsrtU2wChN52cu2LqB7x52caLykM9cyfpweLzPSz637xIR1FZVSDN/0B6kUiXLE2IhzmyAq2kRpnsp5Xu8sTaELAEgnnSEXqs9E9I2KVZZYy2IByipRHJAEjUMX93bxfLsiCmZQgaQt2QAFLC+CeBOSJhbRNimv/1v1sMfUcsssTsRZBfchaXFJhDYjF139Bxf3lp5ZTKgCNgbsR/xqxPTduPQm9KrLSLuJWcVN7iekVDudAnJa9s4eO+vJN1BFY34GJZf+WI/kxm1CAi5A5oH7Bowf6ayw1/CmUSl14X/D2/x4rD3FIKAaSh3U87Jj/LcAvBWhDPZY9f7Kh2c5hWFilTWRd2p7q3Shy0OHrURxRU7+suo1GCnusS2ydMwry7CWoMuEMokaScFwD3yjfUm9OZ/q7ctyEEfE2g82AdG1olHgwbZVo5nh+NxIiksGjFlglmUCFKIpCO2A34UbxWl4iVVkHCUhtZUWKGWsNa8RSpL03jsHYFQD6IlFczUThUxESEeo8/eVwnFHP3zP5cVymIGh7LZMbidL+Tkj1PIYkPUEkpxT1Fc5ggVbR/z4L1D83FLlXZScjk4PDUvV5B0TdTV1mul41PgvNcOnjs9KVkryX8meNMutEcYzK/KLxJC8KRXPXzoszDADk/8MQP39Nbg1H5iqtZA0EH6dS2QtUlHCLSXOJay4HuycLslzYmoAW05CTt6XJ9Jvve4SKXSmdBQWHoFri9hP4BKWkS8l5kzPFVFx67n3X7ThA0cVLvu1KxuOC01aqDOMTF9ZJFdULd1rn28iwWLpgOgRSR632kMiieiYg//LvkI3iCyLJKGcXH4W8jmMyW2z4FQgW/xKmLLneNRKkdE6hSk3hx1dIOPRJ6LewjL9QhhQo4+khacf8LzxQCyJG70camiJWjEt821OFgt9bO5KKzyL7dFjQ8wLhepM8G3VZ3KF+Byg0TC1+l7tFPwn18Rp2fuwS7sQ5+gSyY2IptanlYoaTURPFKpa8PfzjbKxhmuAi4MyBGPUqY09UNQeCt+76aRGexm0/u1Tamq98MzyphbQawYCrecuuCQ9d4Rz9WFDWI2e8SKUbTUDC8CX3TdvA0MxkZGTTJPQ4C52XvZA4ZDsbuOYTeVsOP1yWo4GW35Q0GiMtZlBzVSF/+D+bGHG17S0HEkDZ+tRtEvWV1WfRAw+3HfbtRfAFviTtdCWxBl0BzawXqvKcprc6ttEXcC2PJY24NLT3iZXV7hpGupugS/nd2B5t8U01uYuht2j4RQ6Ec/TPN9nyTlSTzLFmN/Cbl1K3zsNbsdKdwbeStZudG+HdwXILDH5GbXMtKxvHH1XBq+6nQbQaAtAcZNhfgNlpPlTZf983NSHshWSDbvTrre7+qv8iz3uUxCCju+SHRYhrXQDo5+aO7mFz8bRl1kDa11f0gkUKp/LRFX1xlunq/Zi+lklPNgtcVdHNsCwThe76a7LQZ7PpNA0YBAM1bUcyck8upolqqFrohOEDkU/VYWjybT1Aa/c0DFARV6VD48czVUkPT/pFS6G3ZrToawU4oAALldUVQ/4TttqtoRPXIeA7PTH+zeMQybCv6aZ+DVk2buxCNB2I0MgCh3wJYgtUNsTorKoGA+/ojNA5OxcflXEV8h4ft90foXc+2qD9qRAqTLRAOvc1tU3zovzaBpoxVByg19wn8yP8G57UFCgJTDNCD7piszCDCN//uI1QfVILCOTs7kcb2u2S48YS/3s5X7FZGBwPiAT5BYb6ay9VrpDMotzpskdUOI/DlHrzZupORj5N3bmdieDHIj9IuW6FplEeA6s1sxoGIXM5oMc4KFdR8TW+2croig1YjULw6xlc/B4W/kQygC/Ay/mGeK3cuzTNpYwkiv2F9aSjTIjnJRjDvoDQ/ksecMrVLXIN6nAN2mCrmXLKpUPyvCxwbQBQ85wDkv81+5SQXHLRzHhAeayEi39tzbieB4IBlzlTn5MgrjU/FK+0o5L4WT78fbZbspdxa+A+ajSuEixlwRBiBRkOSRLH1mWPMdaOF8DXEYNYIEiMkfcc0KSsyzNg8exAD49DX9wS0naih/6zOqEwxi+imTnXfeQuWk8A+zBd0jG5hwatRXMP0dq4LBsLKGh5ZOYMhQgcjm4XPwts0JwHp/deY9LYnD0zXpsAgmS8zaqTleq/j5YELuhCKFmHQV/5bieD4VfcTj9jIqsKPMHPF9QXzfSM20/d+96y0uQ1PtL5hkJKDnwfInMQzYs/4y9KOb+XNCQZS1+8ja144a7/8SO16M6m/msOeq0F53XL8FG0/2FLSnImYG5Whau/0Ft0q+OhlSsbB8I2w2KNvVZsMyAg6MVh194whjoqsWluTtxRpFvZMe1ov4C+/9WWyqBywAmCd91UiEyJh1W/lCiPSUYxe2Q+alxGXKRI2UPJluKg3zBrOPefEuFjS+4SVr2NgGSORSxVnpeGVHmDTfCb+zK/5vqGn/tg+I8fe9onqJnBvUkeCP7yU4+rze65gRspo9JQqFQNoFuei6ZUcJ0aVF4Tg/gxzYYHxNrBSBQ2d4ihfaTLO2CJsZKGs/CGJnFRPrP72s/Qr+N1wqNMLq58nCckDcxwgRdZp0oXGFYT+RK5y+aQXLlrUsRRnJsJhJ99aXov5xfkPTzY9RTcaXtQ7NZjVlZirlB5fk1GplhcPNVbJBnV9QfnuKSRXgPTb3C8XUPM/7JM/KI7ROnCkifXK6OcZvt0LT8gd1+xHGqIGNpR2JecR0XBvEa52dGnmmw5Vagefoiv0wT/gI7/XbPS6aI9mvdbtPATDPPyeGrWTaRpFynmBX2+hUCNkgnC6Ci5MNtYYUffyIzXL4UCWkTnadn7csJnpo3uurCWLkO5J73sb4hNXgLbJXc0S65ev/yJqROHjyz/ICP+apsKDBM1FyjxBVoDGnpXNZanAtUecfYAQ7hAuaHw1g5feT6TUGt3F4SHdnoB7urWEECFBNlbZZRt+bu+yFy+ZmG7TZpwNDEt6Y/v4YEmiXpFe0MK5V2JkuusHldJAESaYErKT33x8T8/DhnCRMaap2tC5flCqeSN6bh3+FfdkNG2n4MrEh95EaQdye4lX4I8X6Y281sOMcx4zwJrpJj/JrYSZaU3f6q5xmEuQCcOnKmvTlFjW5zYl79L8Kd3/lEfRSReRPUCdo9Y0ooMV+/EmqiehTuODysOu3Fqa0NoLOPmD9F+Fb8O2+eQj+piMh56P2qIlDB69qkz0Rmbm5bWeAKdyXQeJ5p7Nr07MNpxh9GgIDZJ9zyK/FMNCHYIu1GrhCG/JIGPmV+cZX0VrahX3DTrqSkkJ+RuY8AK+4kLRXSf2GDIMI2GTBFqPgYF8HX2oicGsVmemLwcGk0D4JCH77VGg+N8F9J6YpjKajMcDywbrg+tXdRA764XJkFeqXRwb3dhkocM9MI1LHrxsTYAh89wrP8cbpHSqEc/MvM3X8lQK1rqjG+kkCiS63LZr7LHB8GQvnwpqwzgV/7UqDr75pZlxhDwjGxliieDF4yVLAIohgXh+AHiJGXOFq/YqdRIuqwj3FA5cGo5uWop42a8xPhBXToNnp0FuDhUjPAXA+t4BWAFqt6RTGelUOFrIOggKL24/lP/qRU6ktmrjmj9/g187sQ47BYuf5ZOIS4yetXojmxVxftG/nl1hqFOLH7WobcplhWcJY0VOBEGQkWWu8W8Bd3gwix1JsFlICZLKgipSdLtwPPG1BPSimpfqOFtuiimdIYS/eS1+ChtOFrZW01LWbHDgNpHOyVHLWroYcUsFo2AO9MmBj5mj99C3kpb1ubDJq+fMClhu0/qghJONCe/TT0RdpXEvArBAtN2WPw6g0LXdUDFNKrTLV0XSTu088SH/JJCglw2zrGMrskELmw0dG/Kx122rOR8qbrseSM/kYVu5vZqY5w3HK5xllY/DWwM8/enCpogbt97N8WoQ24XjIrxe6dxbUYHPKw9Uek7jGGWVV26yCRtGaVgD6OjZKo+y5SrozKYH/kq0qpXpQrqLtv2cEiSLdRA51ptB/xvTnbeSlhOkZwsSOWgJHyxEOJjGx/9fqIM+2w9fIrOVfGhXezEWJaIDUQkeaVpNxUU8d6Gf3zYTn4mL7+1cB/Cdipx9bL7Hhn/wUtabAVgI1QrpKqQwFkgVzi7tINfbbrPuqj3yW5Zu/LEWqgg2N0qMuj0ZuogEBdkeKLXT6vva22B8fw7qP4czdBplC6wkNDtcXwUejHeUU4Ai/4id2EyfPx93s5Zp2vL6Ol0ObA9xyRaLJ68o9ijNWuAx3syQa3JTsfWItg25fGDGv6LIsgzIJCSs10dsfQsfiXQbTwA7fGOX4h29TMmlrnhfbN/AjINMM36Wt4Tj488vlHtNfTorJZA47g4Lmd+D0S6r6mR3cIhRBKglTZ4HbjxHx1reyufh1gtfajDEU/pOUjcylRxg9R94HU="/>
  <p:tag name="MEKKOXMLTAGS" val="1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PICTURE"/>
  <p:tag name="MEKKO" val="MekkoChart"/>
  <p:tag name="MEKKOEXCEL6" val="False"/>
  <p:tag name="MEKKOEXCEL7" val="False"/>
  <p:tag name="MEKKOEXCEL8" val="False"/>
  <p:tag name="MEKKOXML1" val="4HooU0THZk28POP9trq+pbTvvzd/gcV8t56cq85kb3NDTsUhojRA0EsgEHHMH7oYP1SYpn09ysXVivguJdhTvfyVMsBLTGvcX7WPTor/CmXfOtOhH41qEIghVTfcT6o7+LHxt2iMj4vD/tblS6qzJ/gMcPCGrbvVDHAA21UQtxjiIUqba8bxYpIy0ufKDgD5XDCDe+RVNlFbJpcVRItRb19Hi89qJjTD9ipKC/dBBdkNW3cqqxFriNY2B7W3+bXVxpcBJ3WxE9+VOtV8Tm585I32tmAWsi3qBeXb5MtO78ZlEar+3ePvZm/eKkNj3/PmkC7+73A7e2tVVjZSW+pEyY6MjjSb/fYuKUlYdpc2J851EWCgPDEiElWg1WnTjQz/WMaup5Ox8HzXdYPaLQY02tr4lIE0usFqpPEw0kAWDWcYjok4eOt9EVw073UTlngHofjai/ToWfbOdqm9oJ+6oBsKJmgHTVcOIle7J4AIEpuHvG496en+iGEM42uyGNLEqbn/rPWm0HFHWjW0Im8qDo6T8JJ9MWVWo4V8z3dk3rdbfoA2HYq2DBgvzZkfLx9gCBRe86WwP4H9AdJdrwdxn6062SwJZOuuDM7FKpom23pQmAMT8fVEQMZ5nfNHKlsxO32tA24iC9KE2fUQHr43WCNmPQ3UrwI9v6UFRZaJjaHxr01WyN84IaIGAZGAhvotQ+cGVocnPcLjdKmDHgpA9rhuVpmOTiCpcCNFBvgcsG6Ib4ANMZsQKVZ47CYExh19qoxwWNSPo1YIIDHI4I/ASIu4EEwTMbXhFzEDEOT/VhWr8+8bc5m1iTZwyQi5V/Q0v809OEI0PpTK6Uuu9K8tNZg70ktmBWitAuifLIZ850dgWGJyZTfWMALVQrZ5+lR8M1rpcrfSIx7r9r0Ys44VTE8UZ5z9yZ09DkafpeluiUVTt4lvCS72fjk/07CCQZbw7KhJer5LbcO2JTm7+8AeLJIWFJwSuGmJhnSbw5gd0lgL3v3PtOf+wqGOqxi0mmw3xjqeVj4h/QoWtn+hs7tvBTKFZShDE0AxDgwvuiebdAdMXcoRUNmiQuj4wt0IidIqb+d+4frMlqBTVajvW0HsPpdnb770vb4xXDVM630EeVrdqW4bYdm2x0q3+b+qP9elSlWXmMac7baQq5esLVccYY2dyOezz8sY1c2eaieGhhZIjuJabUs12zoBg8lSki7lMrP1U3ni1i0Xhltvz0jYyeXyaT0U/eajGr+Om7kiWBVU8FWYalkdu3nR9AF4X52WIX0zBhqu0Hb+EAtTPmJJhaXu+SlQ2Gyydsbjiu7vEgq2pT58ItcjA7npZg0xrxNqH9W9B4vHm1vuNQ7LrUn3Fml59hn7JKZaXQ7f7RhXyN2+VqNdpe5WEnANPQ0FnZWqjkTBx2e99WUypKj5Uj9UAl/4deao8gsRReE+dZZlkStvIBYuKYzsJ/dF6AVekHviq/NWXCuKzEHYGkdNbGKoMhHmMNTBYESwwBj7QrbK93p90Pfg/uCHGzz7neKbB9o0KfF9/ZN3rIGL7JFsXZ7IhuzjXEBgZF7BeaSt3HzA9eiitSEFqA3T2a0w8SS/kilaY6BliDzvwvws8bwOaAZIYAC/uF0b/11p1J8xWKYxZMS11UdRFFVdqLE3JsVTZeTiXY7iQNBdetg+dR3gV76TI89YUcg+v3OVuVRDZ4WDRhgqPnRXNleJPUPMNdJ0/YJG17E1qWwQoIjUNzbZsSAeZ5epgbynL/bhID5s7RbEic+13zifMCGAHklvqgGzAt3+Z5Rus+UutYvG27RJ26tqW2gFF1o+GJ0JWy/T70yod0qfc8+349gm4Q5YBWiL8QregrtyxWsvdPbXqsMX+kE1TBcgcBXp2nGsRVMOvuI8XguseXS1lbzYyjr/Cy6nVg+vmnbIRstXGHiE5O+UaAi6f9RrCOb3waKOHzdRaGzIeVswut9HmOfFruTWNzHx/gOhmY475o3/ZPXrFhu2IJmXJnVMxAzg48QBbr3UcjMjV+hcxSOrRgqyTKNaCZksWkZ+gMoxJAsWRTPdr3vdvk8lZ+UKJ4alRqNRzDEfC1CvE+MznjMe6zbzQXOGUZulSITU+CMk/uYaR4UpzDyuRCpBiQfJIoiYxyDG53JEOwEVYC4GOK3vjXd0TlhLGnED+rRIb2A0d550EwrjD9MF7g+Ip8LuA9x44OsFnugBOFOlm4JUHG7483XgMEiIDPqsVrH3LjdkmzWKKS5LC2IFeorhFWzp2lM00C2Gcn/mXUd3TESSIOXOif2mbcTPgsqB1iBhTcvS/DU5uQ05wHY9vATGXht+yhxpimfdF0wyR8di4Obq/4CMyPa5t3/qdlu+0wmZcw35+6lJLPUGjqBxDbLfLKjwqn6tnzAvUz2aduEHjWGGne9HD/7hsVe2DzuFGxntUjmQ+ZIOIFdpwQ0gzV8P0JLeYGBKQKYLTOydkrR6c1DqvEaAG9gYqTA96BEcb7Yc12vOycY/cUG9ly87j9RaTC+9BeT7Y8Lv3/wQqtPK4aCiRMNxWW5pvukDVnVq7lo86pyCKpaAloY5xZ2DlavY7gVySAhwdKcNA+QxV/ATymoFMTNOyRMiqks9ED/4TqfKSop+9gEmPmqNGRLzRiGtws+dR5G1lyKbH11PtgTm0E4rvC/Tu4olOYsBAqXIktowBXk8MPXn1i4LcUvbMfUF5PT01Cr4zlNegqOzym/BlpQTEKOwajkN6gnxgqitrndz043fs8bYcwv8k4sQQG7NDdVQUNinWybpgei8DRhqnQcwbQuqVStbF21p4gl7eVKGY7/jQAxiWL6HdfC92bzZPAllpec8tKGR0YGrKwPrNbtqSUJh8i8KYed2aZ9ohoByqeqh8yFVxQdRIsPZy2B+XQivJifIB1SVJRtPE4bI4b05rL7s+MG7n44NPHQqFmabUCiHhmbynxQ2F1f0OTCzlmrA5I2fm4xmdaaWpTBu1poumoKCVtwmcdRdf+z76yoqr3/aHancvZjH9ydkoM2Od/cBfej+EiiPBW6V4kLrWERCWY5S49K5Sfm/UR4LFPodSPvAWoFh6I7JrvFC6g91H6lyXHHuoew+4HdbJXv9QPQUJ4dGKW4N0vH+kNoBFmveC6DtT00KoRneP+YzWZH1z9GH6FO9reUDDtQ0ZjW7sy2yC3C5UH9kyclY/wTLRW+8JJ4FEhAWasLMpoKfMYx773NWX5gQrQSExZttWrR/LkdnzCM8KppFTqYrPxuBC0g9MN9rWKlbSkjHXuOeOXsAOAFpF2/R68QhpSh9kkYs1fkOAsDN3ntinQMmLej1uCsuewK4UCVO2Gh4Ei9VUWMJViK7nz8kmqwtBAEhdgLk1lKsoBkFEnCXBDkIl1snY/TUqTCazxj7xuzwDtDvZwRl08/wYHXGM8b+car/jMO0yA7i/qwbp3DnXGhbBR35oSUNtkwK/V3X4+aG9z+kAgf3DKYGItU5RcqHaG2jiG9uAenjk2dm6WdEdcuIlNRchwdcJqf1IquRW6iP1HAystGukA/pkelXQr3ylipRz0KDbIhTqXGakZBYqtHbZytN4ExONTKa8cllptSued5kkZGXTHFZ0Tim6ix0WynuVR9v4/wxivIH8gJXrPBDuhyn4Pbxss0NHhMZv0D/eVcGRgfAY37Pgc+2Zq59V1Bksm6wfhc+2Biq0rh4n0cqS7UQ6onL40HUl9R86UWwhZMK7bH+1Jsj8gEYudP8dyYF0CnWhHp3eG+Pa+Pg0liy5Q0O/E3i6RDkwXpVF9TyCKOQHEB9VYOZujz5kyGSteu26464jmZm8G+5QZTEhKigrI9fjaLGr84+2PKkxqdvStxyWsS/POo4QVO7eZabm9uLre3ooplzT7OJDGs5GAvTYEHxekTBnyPQ8F9k1RLCvfJfyWGQ/wdHtDREyce5XAMgee6KPsEPVm3vFEXzjKF3khIYYab59LWx8OSr51M3Wd3BCOlvStITEyVxsxnW3T86neC83/lSW52o5/c2fcMMy1wG8xTj1Zrxi8UI8ZbQNlHBlT/REEHSevpkFEUf7XoGr3NKT8lFoA6G599Ju2A16rpOixQRFwW0YWIEwIUhDG4WI1NXNKRyYBly052UAHo6BDw7vR4H/mFH0/togVLdIldh3przPWeqAiRgtmg9nXKeTEcm+OB0mwFiiz++NhV1+i0mko6nLouh949xNvg9TNHc0rEBMkaJPGe6CLjdtpqQqjc5bF8ca/9HSv1SCaPk3XIUVhCqT/hTvnCmtuLQT5NLjZDlMJIRf6SHL7nib3QBFsFf4lhYoKG001zjxF2PxV8swEv1NwPyCBbJTnnmV3bDjeL6otCCtOoheaWWtTUbImZxW1t1qocgIj/ztuAG2Nbx+18EL7i+OEWWA104TrAq/yJiozhh0tgUv0XsbCVjfR8e0Ay/gAWhPVvBKCGcGUzS4sOmTGywciQ0dwYGzKiRjdZdCWV3W6iMN55+bXFYWII+JvxsZCreU9/PRSzyvaN8mp9JGY16dW2SciFGnG5wZZlqtQVjXSw1+yyyaa55CY9k0kdtkzCQBruXXXQ2H3CUBveWWiC8ly8qQ23TPwxvo1C1MCgp+jq5ReEJ/A3k2ThlBf3pnduWKkYNRDru8Z63SnMbvaRWtIEYHZ0Wpom2AtMYhJ+bzIjxoP350DO9T1ogZ2vbi6yEtF0b8KR1hDkZH3IepL6S/5O623GgCpJK8fKLpvPPdReoQrIZzW9cP4NfdUYoh/J8Ex2SdwTrVtzWmja0juS6g+y/yuX2dPfedYf0AXNiCSO2bvZzBMaSNKeMW8h3DjEH8NdFP/ldnX9AIz/rtp1f5oYjsiUXfbMo1WgY6RkLzTIeUqzESyyvaclscYmqD2/hZaWJSyirF6+rnYUbvQJ1A5Cb3pCk0M8/N2JA7yG7vxqorFZ032XMvBOG7Ut7IdAcF6PdhA/YC9Ak+laZVrua9CvJWddlM62OKY+pg6/vsKSOyS5rBSgZDLmsRiJjah5tAgG0gj+XyGQ53wFV5Rjjr2z0slW+yySQ628Y9lnzqWNOp5a3fD+CKIPdiS+mZv8R+Z8Iyjmftinl/ecGanHoqQfJlNsQLtjolAVzPPvCFdeKh/BPcr10P/yVq4TAfvDA4m+bK4sT/m/hwVizWEQVvxQvEm/jOhBzPNr8vU5rIYdRklinIHEQwc+tILCaJvgpdmcfpbfSiqCW95ii2VSH9J3WuvqC54hfAG2toTdC6EKIGu3jBVwHORf7VZ4H5dbI4Tn9pt2ILlzVsSaeW/iLZNC8Xz8JPanyP+xQh69BlMt+oRf2tdt8/zVrGdXJMbEQRyVRV1/3pFXRlv8J9ODQdVbe7v0Z95dfac/Iv9qYK0LRQghkS1RvbaDLfzWDFBsJP+OC3/FeczDO1XlJhQCeAwyEZ6kfAxu5QSt9tGe436T7MRuKC3l7wHeOY0qq2Rjue1L3yvbEdFYmi1y2mEnU/SKaczsOGMWI8uIfkxCLrSfD3hK2AvjVHM5tTdIIZlJkLNnshhz5mdzfy+xBrJ+4y1JnqjrmjqBml/k2JXfYYPg9D9kIwRxDSpzq4Avbdx9NMrDqYz8t9Oykv5bP1pQyv5scjXQdFfrvp8T5iSu/LCKoWvtRKLVJtc60na8ZyFcphcmG5Xz0URGfclgM6xV15fMKEMd1bFo4GOABgexspgdI4K+wAOr2qm6MMmBnkXI7Rq5RJkzOqAEyBi6PWE6j8O/UBSiVqmKDjTjxq1VTfNPrqnIFxxNGmNcDadqnfNZ2u7xEQamXsgfUxeormSvfNm14aY9xi6dYePhqShNe10j9RnWNvxA2vSVsJCW5it/pNwpicqa3qqan1hU8c9TNx14OxHqv2WImjfXTNE+w9XRkiiqT6rJZMYJfYfWhQBmcPK6Ls6XSOZS5BLCDn+CdABnD6shYv8+ElEuDSOtX9lJ2jyymUQSh4dVI7C7ZAD1lEGKhiCbRl0ns7HvQBsgGf4YVIdYJDlDxiKgf5pWv9/jRI5qkXuTjRK2tIBPRgiPxAzhi2iTpp4B0RLEyWziP5hkM71jRnRHUR1OXQYFJIfQiom13YK6xmm+l5eqcydSSkS+Vh6qUI7pvDWMHFmkj5LF41qGQwhSKv2ABca3Y1zqf/oelYJoTVmkc6MLjKDn8PsfJcbD2TanHNF0OjN+44L0YD9nVpX13wUcBZ09GWcfq+drbkqA5LeULA1UAp+kYU2r4JpWN3ZpE7PfvWP0FHQn/dAUc+D3M6f13/mowKazFM5emHd5Y3gvAW4LYBeKzhdbwuwFR+kiJiYzoBX7RAijug1qEm3kFnoDViqEI9y/+gU+gVMiuykEXLOLg1JcU5u5USsnj39khc5qxV8hN8BO5mZjPWNJi4wshKYoVgcZoN6RZFcjjmVxu8wqzVzWrhUoGIkQCIvHyCgdYo8QI043Weye6qlLn0UstwhGRfOLPx1cBBTRsEQso4eviBcrKdwYebzZfoEmRcJbZN+Eh9ApFKQk0QKp5v8lDDrVyEFyuGk9SE4YuYpJGktv9L+Jic2YdOBv+BquesDLZMvHGX2QnmZQpgjOk7MvPwv3dTPt5IJGe6xosRhXnmMe20QTsDbeMvMW6/XgBA0xHV6ocfPXi/PvbYrAmELxL0dlkzzHL/EC6mF2+8kPPlRpaQ4bnqwqUlqv4wJKTkjovZngoqHDWiSPcaR2MIx3A2huL8TmvfVQaEozhlA6oTALPDQmLTs5Ajl6c0ad7bPh75QXWuhFlSIUxhdZZwlM4r7+nQDytzu1W1C+cMvIm8gowr5h17oxGTmjFJD5XAy/zE2eO25LMJtFCvAKepthgaD0tnNBh6wN4d3KuTR4mC25AAJJeSu/kqTUJ/H1wSmz/uQ7+Xa2E9wPZVyWcQK2afGD+X5Y9tsoliQXi+Uv20fZlafyvSlMqI6dIdVQhGFS/oSsWP4H580nvjXIvB2SQsOJxf0oPPVzWoBgKDvG2sf1uRn9oyD7U9oTAp1AkaL28shYYGKBPetADaxsJCAAY2o+8VsZ1YFq+yA0CNgKzaa8zDKR0h+jzZAF24KyCRjQSixlwJlAJCaqgD+9JeFrl13+OzrcEz3C4ze7JKv2mCvtvYHx8zcwl1bNSxw2Ky3FvQqlC8lPviL2K5IoquPzfuxwtmcCU9Sq/Y5iojv+f0W8eoSLOkJA9Ss5J0Ko14e1J01zm0Mda4+STmyz6riTMAsURPZiHQ1Q9za0QPtuytcbDk2I394Uk77SsagxmFGI8O8mnuxK8MbHGoO6fnE5emrjPZsFLbVUF5/uMKShs9UwD8juoFyzB0KkrNanOoflmNqIULxLaRbc2PuoXP2ltjd4i+qdA8mT18EtNia/xaXmZQbCkpUR9ajSk3YUPiOEE3R9ye1fyuIPRUuVPhmn4D51GJVTb5y6PNEvX8yichHbdUyuHINPbVbw2PIxawPMuoUDJvogFY/vxXuX68rJZzdPC2eJhTibBM4GPMWl41YX7OuSX+ndwKTrT/kOAcESMUm3D/dsf9v4WfEKCjHlrsd3EYlN2RVKOfuryszWPbeaHGM3Qgy80UyBNv1imroIsW9J6tJ1ufsnOw6n4rhgNjGyVbFYjZXCHY22wMsdK2M93Creu8RtDyRCXJzIZyI5pTPz8KX2zN1YVkSx7qNBfKF3pd13HWucP/LlQyKNyy7TEL7SJpUbsdsdXglsJeTGbRh8PHC4yCrsEsFJpLqrLh60xVdoAjJO+LerubXDo/jS2nB8oIuMESesziUCJGBIbLwyXyDNKBh8lC1/WvVApCUeW1qXxOnEz/gM2Jl41ZYoKvSjEFWYv3bnz8CM413HTNN5tvdkc6k1X8ymlM1zQPRdcskS6zoiib2+URLHX0hjexj1I8BAAGRBI4pGeshYQexjOewgBrVydrR1GN2RTgQG6QFmqC3GdfnBQ3irEyid3fHeB8e+1amzUkrBv4pswFadVCCVJ28hgxrrZRqXoZkSvakT0k+2PO2YbLcGcbjNR4F7VvhH5boL+iRv2fIC1GFRW0N65ax8spUodGikOvIcnxD1pcj7EYYyyGnHlJwBi6EolaOEy7nLTgm34/Yfono3DAPNSLfwDKonYpQggcf0Ux9IqduDIqXOz8oVwONOU13NTQgGtEOKCevJDlyIUwQxOscXXo4B9u38rwurdCFz96cKKb9hCjthlcfFoBTFp6QkEvFqwdFj2IPoaZcX538TTRynBH4YxYjnzk9Zlq23Y/j1hWdmTMaayfVvgkabLSGQ3PlGihchU4XqXA24uvYdLlyGtrI+RfhujOp5NzkmUr/yzyJY/IBx7NWETUaf0TFu6udnfBBgIQqfNFr0FT23yWMngEs3GoNHSV+uKCd94rSAkcxZStKN8vXk5m0UO7w3X/06xzBX7FIli79JxYKrX2Ul48SXwI+S93b7jKQzeDeyfEH9fp+T2ZSHtaYOpsRbUiyDhQctq86jUbpsYHvjGcOnHbvj5D2CxmuwwCA7DlqGzIrvguJ3THkDDYy8rD7DvSAbdUenCJIcHlat7+C5srSaU67Njg1G9prB132+jubSGdS0s5oH2JgMX2bqLnmR6l+GW/aCDjRW4WIH1NfvNRUei+ncGArswRnCOe2x/sZ1tWw9Vy/NrvaA0JDmTXZnByaOjyKPZ27ROUifBTeP/nampA36yKKJoS2/q3bMQWo7hahpLlaCJXMvUYkk04YWKJBCkM4PIfEMJOlEO8jb6UubFO8MY/QvsPZKyppb5Tw9wSapdxxewbD5zVrYeI6rT6D5w1+XBpV0z9iOcynXGk/fNphm6EVLCz0R9CaDsS6MrCeDlTTnR1gChhYdTtzjijd8Vc8sJVKE07NTzShHUXOaqE62d0BgcvbQsG+3ZWIdOJLB37byhcuu3Ub5MvRO7VdyuJy474MG7zoCa6XTC8PrMTde5p2RwWIqP4GOG0sE2PrOPOFq3R8rOTPZQrsl4AY4OfOnKEzQ3qF9BYJcjBNN4lzyXRPrPuU3H8LyQsXj23RyYa3/QhUr0rcsoZHNPAW9Z2pQDkeoHO3eCDEg+r0q0/uo7fY6/L6+cv3Y4mpuhkVG/AbmGY0R/Cw2SxUiX41rC7lzwdv21aOTAUd2BB1ASryfizum01q6IZLHI34GsPPmA5CJJ27n+g7W32NFFLu7bHjN8jhujFJoY6cBxoo/Dr+hkauxJhsTFraInZPl0U3KnfvmtEDPEKjrOl9WhFDv1i3vZdXFiAh07tevOT2RQa4BFz5i0Q1Ad6P8SxdYFOMj7poJdR0Vd8/FpA8jK+ybF+rnMrfsRI2MLPHWWXUkdrk5c0IYFR6yMPnkhw7wZfGsdTtusp0ORbWlJkR9FM4XWFYeIjTJbLOtp9nvQSWwDNB2eIw+zb/OBfDrycYHBzSgGCN3FVUHIw9W9PblmBZnLG6RBbcTw87BQL+FI4RDDvKELZhhCB48e6foVpx3ZHK+QX88SwttAOozKZAW1HNMHMJN106SwOX8XL/0cD4vgCl08WaRCmeWSY0LPDR3FreO+B6eVrHROEb8O2eGWyvmJFnlw8PD9Q0oCKHeaOMGSuc/O0Jn1ntgu0/5wYhrPBl6gehAqkiNBhA4T5v63QD/aw75vl3VZtCzEMCA4sUhgJaVyaDYx2G0LQEb5mCylT//zvyReMxK77nyHIt1DWby3MCxDQW+CZcc2cKfkPxfkUdc4PABAdYwG/IZ5GiWrucbjwkMkqplYGaN6yDoNSTdBVHY55IvpW1+Yn+Hla2kj8Llx/yIeU1sVHc1njTj6rLH6vwSZQfsRK/HPI9CA0rXYKAjsBCBUa/NSA3AH0DGyCmQZBPgcqY5TEJik914ZdGpbFAhlaIEgnopCBSIkLvFUdY4YzI4BP+4vokavJuSc2OXYr2pyQAW6ELp9Bf6mPx8y/K2FztYEiw9H1oJsglcFCNLWkRixNRU2XNrC6vl2b6TpSaQE7AraVZ+hJ0truR4YwxBgZslfy0UbqdadaiQ3yVlwJJjI57a3MeXlceNAt9kVAJwjJd2UPI5Ri7gaajfOFosCgLfaye2NIQOZUED8xVXidI9n3aZcZcOfkO3k/zYeU6C6KWD+poVGpeNojpswO7t+v/krITI+D++gwF5mJqEiU3xk0CaSeWdm1zgyy20VJHqbztkJFcmo84rwVprlSlIWTnklh2uJ4bs6Sxv3InW6wH0qd6cJQAA0vwkdbBziw/mK7Qk2RtjFN2ptSm3KhDw2xMRB3mBX3CoggKz/pWFVZ4qTrIJj7Smd2B65n8PtukNBhJPPykwU0ZTEU0wkLFhXUoGjxGhfVvRUJ1l9Ml4eGrvECNkJ1YV4e2Nja108Z8Tc/WYjiHQC5wI0Q2ZqPlTZC5CopRZWKsGFmENJNL6xq9T9Z7DjXwOBfl6ZIhJymcBAe8QdzrU4mUBfn/OHZKf2cWvRNhOTSNH8Ft6oveaV6Bl2vFsDb0KmXjmDqybQC9hi8JmNxPyDxZaEBwwChEaJh7J12bwwpByiEK0IIHsE31PGIEwk4ji4M0il5hH8/hRDX0d9pPeqj+QvIm2EY7UJdamJelfkXULZEpHRJxQbgUqewdRRpakhBiZcTWIxMoZM4NVeSjHSTHEhf+vdV2wLWR3c5+NfTFnRqwOfgP88n4Ersbhpa9mU7qDCTjhMx+sx+NdifgKpyxvyFwLHYAoSYV8yAdaFL2hhuuSRaa1P2pRQoJUo8U9wuPO2gUFwCnxsitO62PfjDnOiCbYv9EXsZgMgwRmwIYl7a4zM+zB4HjjN1V72gsM7doHkxuuzqgEBVM+hmGcVkq52oXwZHyie/80bjHDhESA3FK4oLf4IQYPdmX908Eorj4hwwVX40xZFXFSWWsu4MsvJHPn3TWCKm5DvIoIsi/p2b6eTxyV+tyF+LyWPXa2VqOjxbu668Sljv8TbffEXrb/JCzsEumHunhcqE0h7ebhlIa6q41gBTswoPyJE7lWBzn9VEhj7JhkFSG3qJUyJ7mNPRWxrFCLzIDlEBkn7oTXwGpeiOLQXtUS400G5wr8h1DO+NMYRSGGH5UV5mvmnRd08F3SqFAiQv2SbMRFyVk2+zE1Pf1HTofVNvFtxHgiXW3uYk/AzcrlWjOzMAdcN3IT+jOoEzpa2DpgkYOgatEHL67VJpk914+YYdMdfSojBi4mhX05PUPHJWMKEpAmUFkyQhVbM+bs4lavo1FZib4/V2hzlvaO4yWj80YmvU00fw1N3n7V6H0GDNVQ2AdT0oULf6zLqf2snUwhzBJySrBXiVTrjCAMrZYu+Ja+8RHDUZ86Y0qDbqNnwILFcGx795xXdaKde6KDTwLCBWC4pLzaJYZZWt19eNVaNgUDKECEVU+By+FszFjyfPSqDICv5gCrOsyc81pPmK2kYIIcxyEtYW5WxCU/qmXW7hAVEWrsC46Ha0y5NR3PwlkXZm0ztardvFfF9B8oHfxQrQByuKwiRIM97sZJ1elcaNr5AZymZAbzk++oGhrGH+/6IsD1Edw4rDFg0h1tqfb8oZ+0qXEIdrQU0qgeTz3w6AGt4nzUAwk2MgJnuc7j4LB8vFQOU17BptTPMZV7Ft8OwJzBu7oBbGwFn6ExUCNYZZ53+oEQ7U6qC9BBqiDMLwisvoKNNGV7QVmGG+AehysSnQLejDEeoaTgb6V9m1+hkpQjLnPTIhZiZT3WTzzRPSLVZTgVhMPfpOkc+rfihJ8edaEzpO93RR8SzduxbA8tniIEnZkQ8Qchm4v7bKW9uY+/iNH+RE0vYUBB/LMcGZxWJIdbBEj+pHbaZxxTghG8wd4G682gW3gTxSIwgB+5Mlgv+0B3C6C6PehfjW7z1HEwwiq/QM4PGbLQ+VkVyCgwS24sNGq7tLgkI3bKNDmSx9KgseCLEE1GfvNNrii0NmLi1YT6PhItPojhJz2lZNuaghaMDCnM11eZ2R1B2CvelXr+JYiZoUlRidUJEAf0L9+gZMbDjfzfw8lfaUgMsi5ewmNu2gsBIiAUIrg6iz7bw5u1Xkiu4PhZ5aubBtweC/fuaK2Yg+0YTDYKIWaun5NkJ/Y7l3iI1bvkhQP26ODUAqMTAZ1ZwmSYsWKIy+bk2mHNGqS35cPl3QhbHy7Uzzi9RD4gACBEVcOOZlxZFxtaH12QBbEskXyUWCFBXn2X1N11t9Drz6EQdRs254BkFhGqXwXLMfMjZVtJGUQrrLgKv5jLhfqxspgDerwWL7fk1s26a+iMR8bmz6gMigdqCbsld/xHahc/dVoPxW2qinSFKIVzHZUXncKYyZUyecfVdYPs3mCs0SPlRopC0udp0AqpCDa/Qdw3l8ZP74s0vsTw0miDByI4bqoN7UJ6Q982NBPWv/i9umABHgydWLREzdcY9jDTunSxk8ohP5m0xDKZEWtsE5cQC6sCVtpGx2zx2vdz35mGeMXmU3+EbNENczIV44WnXhJ3oSRUTPH34DjHdiF5MkHiy9TIX6hOnwaXdO3d7AzLIuMxIhrZa2tNu+ReC3GaUoxuaVcneV3rMoUYjo1+i7fceBfBC4q367AdN2QR5QCmJRwKCE0aJzMIT3EXerv3v6ndV0jG8FTUNMvlHZOu8N9wIM6oQ6pmIHsvVIUefbO77E5Ij/nQKAPlxsszT0PKp+xW5jGQbsQr4d6d0N2p71uNwysZekDHtA0vXUzEDwTB63V2Yf8L43x1y9XPSAbiGxCKaG2m85cocKmhILjhr3OgAbDOLKxP7/PUvYdW1ZF0n0YwgbrHFU0sEJoU7oyP5+07Zw2vgHQ4na6BqvHcwW5ghm8GM93HbWR+PrBLGETYAQBrNIZMIfz1PcmR6Mw3C3Vrcldz/j5ZPj0tqcUvfENgv+FmSdVjzqHdi2h4ct28cKgx1rZBlwfwWSVxaYYMAhOQGNZpLlK9HXw6146WvKovRxpcZT2386sPKweunNxf+qCcE1dM2EAy/sQJbjIAT52fgw84/s3PerjZxl53Rz8Gvq4mkWpKIEQ4LkelZOD+QSLDSNWGIGxsodcWccoxVreXMo85gLT2OOvF1Z7QUj6oAOi7z09R/9FOIuYsKALrIwLIlKuQ419904IKGIjSpJ7wANQ30zz0mnTGoa6SsCD+qPmw4raQaCUucHFHbYD2fTFZARmQjFzpECY/VnPQQiAsOj7xWH9v5xj+J98EnK9Hs+5B24Pi6CppQAZ4CMIPNman2fOMen8EBsMDyBT0uoFhwu5tiW01s29Rcr7m1KsQVptELVSSMvMzXLKAZvWLS34q3YOASCg4SfkfgIacHOp292MB+LOWUxbF4v6pHmte3QpumsnkXmXtITKuyfJo6C95Wqv3vpSw5Pksb48ByiXDIl0RxCisYTFGAycejfMA0zGGnmM+htu2NGOWpmLrh1rOPO9bgka4zjy2NMAWPppthPmaqp1KIlvrpXittztPYkRtRCxD/6N8BXUCq6WwiFdPFt6sz1Hz/8d1+6jQpbfuJrZy6WYd3AvMLakSR8DVZX+SLL01EAfT3r1Fkg2SqjFbT7fFliooZgn87a2tyBemWu/Z858Zk5zdsdhMQtLF8bYCvU2/xbYld7QMYfxV5zf2l4nJWOFG2L+dtJKatz5SCIn+N9RVRq1PhqSuWxlsM3yLzt6y6akhmjc55BwoFeoSuHmeL054/8/SGiIawkysxt8jyJENh6PWbzfmROqC/k/Fw4fGhjbP3F9Q71ptCNF8GKu0Fv1xXo551nW4u1j2mVNrWywRMxbAKU/elFyJJvR0W7UhavuRbsK2qtfcA5fmKSbofNI9p/iyhLr6eL4kp3HduAumT0CsRyjcqgEVw+vlZTd4G5XD2nAgXa3e/XHn2qq+AcaCtPGgA3jw09yZ3PKRn6458RMrgB0GcZb+2uI8CN8lT6+s1+neoFoRFylm1KClmSKfKngj4TJS9RIUPDQe4N3qp03i3kbka9JdCcOwMCbrVricc+3r34VyJMLrFRsN5DC5RRjykJoqQX4qmWR890qWOMQmwYK7HLbkNmHtZ7HfBsOZl6iN2QYiii1lEhHNEUST7jRlciUShc6cJSinaTgFGkLll+D3LkPHDgmQb3ygQ5B8JsdnaHTatGG1U+kpnf5h1j9a8zdvxiK9MHUTTGK04CifjMaQV+kQ+piWvE4xAhdNY+vckxzm8/zjsd8MDgphHIsFlNRylyyPJqVOLljKrMUJxxamsSMecfvBWHuegcNAzKW2+ToQ5ppYvUv4mpZ2/MW5ag/DCwwuCdXFIw2PZy9PGtcw1cfseNH9hdyWE6uFCdENQfGn/Sluaa9w/XDEsMZGktbhLhjTR+5QjIhQsdLPoXrX3+I/roHFQlIIqeUDWscs7854bwEe2pW10mzOhg4Tm0rA8ZwfXa5OwMwItFGfr1prvpJz7MMh8NQvOrgVQ7AiiUtBaH4kOKmoxEA5YJ72ameMxu4FBPF0x4C3N/9KReWjod0GBSXDgV49/uT9Rq/faLejFOLJj5KBUTLELM1qK5dRR5vwp2ld3S5n1qKDETJaW8+lpC2JOOi6SqlyR9941sf/cfTbp2kcwr3s8M2RJ1gJUL6RneCDHzY1gHmk6MxwUrHxmwH6XzKJIb3X1OdLFPAtX3a8ljitOGR2AAOrBi8TVvyP23oKzjO+cwKeR+JGZSwfqoZy2WbgfntZJhrssDnWKvTlAU+jVG604fKtk7jYN7S2TfIhwqAvCGxieInu173zPw8kmTygLl0k2dbdLQ55JEvhFftixGyQLUXleahH587LwCq6SRReEGcN/yjYN9cTmA6Jpk4l4cs/AAA3uvU1iHaIajUDgVdikK4lYh+XXqHMivMY1/BP45vQllbdSEfwpY1ukHjEVbWwzzTfZ/jtk6QyRKN2d4LCmcMm4M8f6tf9ETSEFqZx4nDUPnbIS/G97Rnxi0oL7Vk5prHrYrL3FR+PVS8vrlfEaXvPvjMkVlJUtafkUp0kYJ3x43aSS0KYl092KaOSQAmNP4gv9wla3NXE2PCqEt4VuaBoNUE+7dYkxfNQozmiyf7teEjaxitgRgzyqLPrVd9F1eeWwCVDtCjP2MvSV2iJ6fxAEuGy0w/BIN2sWywFfwtBZOEfzcpydSEGE8ova5YS1wFTEZtixbd2/IpcegkfNKw2nmEKJCUUUO2SlS+kpUBL65dvJ7sAKriQYfedpBJQQnkSeN0TqSH5TIwEyLMq1uaiS6uvQXYYP/UtRdMJVk0En7yElXA5xnvDfLapA1C7yPH+ekJjmGKTaJ+jBGL2jovpk82fZORWXJsfK0O098vhdo7yOuCW50qQxchfd/V+WNfR9ULvlHjSzyYtiz/ujAZQSoVrv8cgQZF/4lFM61uZKm58olk9uWuok8p+ya0CIq3njYJ3L3JBGkJcAYeZxcwNID+uFfeNLdzcawGh1qZeNlkSD12AO6nOWZ7tJldMdWMjAtsQ5NaWBaVCYOrVyC3VrG1VQlq75mkbWVnenM2nBfpGl4lirmEhDJaskGGbJwknQmJCqNjfz8vAwrIYSz75pG7dkB/96wrdOF+5ttLJ0tudnBo17I0rN6w3d9kGbIdS4UvC1ooj/+5/EFeZQnxRAmtbaif30szLZWajioKZGM0T62+pKdSkvQyFJCJ68HZISREv9urnYKetjgaEe84GGfv6qVshFbdCO88ZahxoT33eTsxXh9dl+uv7FbDbTi4Yhg+8PNIBT6nvHsAFB4yL/D7+oK56y5hRHBD5rTbQJ8hjduFPDLjHVnB3/QtCFbB6FAD4XHIF2FU9lPa3HOoEXOEcUbwkeQ1a6XE/HKgvvXRc/BS84BZN9u2vO5NexU+PeCR9DaL2/zr1wATR+3tjh3yY5Mc/4cEMOwsWnUZjErYMHHujNeIJXdQJjDpG1GQ/gLw4eXUNLeGSO5Zgz8LOPmZW1e5fYjMS0KDmjQlaa76J+iQ791AfeIgj9gR0FRsXpoO8vEP8TUvWZDwG54nzYy+gGfKqYqMlmnz5sBAfEGHmcoQRN66CrpMe1AvlUIzJif1Uj2Ynh2wiCJkcjD12xk9T9SaTbN9vd9Wa3atSOLPHn4F9Xg2Eri6TnsYC+j1HcqJNM7vGNO2E8OJnuxEV2RlPsKVedZicySgEgxwOnvBHpOlSYhuwLW1HJNEqtQ3YARoQRrKDYS2OYFnZSjNO97dpp+Z7+BFlLBw9qht/u92uHnLwlTxbXII7yrdpqzKsrPCe3vtI0uxxTkdPJeKUpOfxtQxUchf+aIQBSRaxLKjqQdhEiuQHLjUHuRo8iZ9Uq+mc0vkP8mweS1qecf2lcnSsWRy6wazJFzvu5M/hfq+GJC0UAnQFaj6Yqx7Ps0fpRMRruioUp9WWr9yn5DpBL8xNBqG0jBdr1C4wkrVgop4tn4LBAB1TNNwiw4SO7guAA3fmOTXGC/jWUBcVoXwVx1x9cgOFkQe3vSsodZ1fXyxuRvs9e7pQMt11KiCatt2FewbKqgMiZa0E67xfEzZJ9IiowBU1IxCh4uPCcCfOqyHilXHJsmckDG6dZEN6i9zNrmS5NhTC68pGN6wl8xDb9g0ljmYABjlGErdw8I97a9k8lZeSFz3iqyGAkW1RIj/o8yYTXX0/lqUcLyYXoDsd+PLfdmQIN5hfSOhw70faMx73qNKSzGirogv96cIxPlcbQgvoe2HrMHNQn+wFzt4sNSC1FAgXBG/Y+rqfXhEByxHHGUXowvoqnU94b/UomGVxy/BBtbEGB6Sj+/JRWok49xF/zOsUkYinp7pwGqhYplyb+wNe82rJZmy3gzFL4ylStCKSTIBhIMNaMPdfI2ANmwcE="/>
  <p:tag name="MEKKOXMLTAGS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PICTURE"/>
  <p:tag name="MEKKO" val="MekkoChart"/>
  <p:tag name="MEKKOEXCEL6" val="False"/>
  <p:tag name="MEKKOEXCEL7" val="False"/>
  <p:tag name="MEKKOEXCEL8" val="False"/>
  <p:tag name="MEKKOXML1" val="4HooU0THZk28POP9trq+pbTvvzd/gcV8t56cq85kb3NDTsUhojRA0EsgEHHMH7oYP1SYpn09ysXVivguJdhTvfyVMsBLTGvcX7WPTor/CmXfOtOhH41qEIghVTfcT6o7+LHxt2iMj4vD/tblS6qzJ/gMcPCGrbvVDHAA21UQtxjiIUqba8bxYpIy0ufKDgD5XDCDe+RVNlFbJpcVRItRb19Hi89qJjTD9ipKC/dBBdkNW3cqqxFriNY2B7W3+bXVxpcBJ3WxE9+VOtV8Tm585I32tmAWsi3qBeXb5MtO78ZlEar+3ePvZm/eKkNj3/PmkC7+73A7e2tVVjZSW+pEyY6MjjSb/fYuKUlYdpc2J851EWCgPDEiElWg1WnTjQz/WMaup5Ox8HzXdYPaLQY02tr4lIE0usFqpPEw0kAWDWcYjok4eOt9EVw073UTlngHofjai/ToWfbOdqm9oJ+6oBsKJmgHTVcOIle7J4AIEpuHvG496en+iGEM42uyGNLEqbn/rPWm0HFHWjW0Im8qDo6T8JJ9MWVWo4V8z3dk3rdbfoA2HYq2DBgvzZkfLx9gCBRe86WwP4H9AdJdrwdxn6062SwJZOuuDM7FKpom23pQmAMT8fVEQMZ5nfNHKlsxO32tA24iC9KE2fUQHr43WCNmPQ3UrwI9v6UFRZaJjaHxr01WyN84IaIGAZGAhvotQ+cGVocnPcLjdKmDHgpA9rhuVpmOTiCpcCNFBvgcsG6Ib4ANMZsQKVZ47CYExh19qoxwWNSPo1YIIDHI4I/ASIu4EEwTMbXhFzEDEOT/VhWr8+8bc5m1iTZwyQi5V/Q0v809OEI0PpTK6Uuu9K8tNZg70ktmBWitAuifLIZ850dgWGJyZTfWMALVQrZ5+lR8M1rpcrfSIx7r9r0Ys44VTE8UZ5z9yZ09DkafpeluiUVTt4lvCS72fjk/07CCQZbw7KhJer5LbcO2JTm7+8AeLJIWFJwSuGmJhnSbw5gd0lgL3v3PtOf+wqGOqxi0mmw3xjqeVj4h/QoWtn+hs7tvBTKFZShDE0AxDgwvuiebdAdMXcoRUNmiQuj4wt0IidIqb+d+4frMlqBTVajvW0HsPpdnb770vb4xXDVM630EeVrdqW4bYdm2x0q3+b+qP9elSlWXmMac7baQq5esLVccYY2dyOezz8sY1c2eaieGhhZIjuJabUs12zoBg8lSki7lMrP1U3ni1i0Xhltvz0jYyeXyaT0U/eajGr+Om7kiWBVU8FWYalkdu3nR9AF4X52WIX0zBhqu0Hb+EAtTPmJJhaXu+SlQ2Gyydsbjiu7vEgq2pT58ItcjA7npZg0xrxNqH9W9B4vHm1vuNQ7LrUn3Fml59hn7JKZaXQ7f7RhXyN2+VqNdpe5WEnANPQ0FnZWqjkTBx2e99WUypKj5Uj9UAl/4deao8gsRReE+dZZlkStvIBYuKYzsJ/dF6AVekHviq/NWXCuKzEHYGkdNbGKoMhHmMNTBYESwwBj7QrbK93p90Pfg/uCHGzz7neKbB9o0KfF9/ZN3rIGL7JFsXZ7IhuzjXEBgZF7BeaSt3HzA9eiitSEFqA3T2a0w8SS/kilaY6BliDzvwvws8bwOaAZIYAC/uF0b/11p1J8xWKYxZMS11UdRFFVdqLE3JsVTZeTiXY7iQNBdetg+dR3gV76TI89YUcg+v3OVuVRDZ4WDRhgqPnRXNleJPUPMNdJ0/YJG17E1qWwQoIjUNzbZsSAeZ5epgbynL/bhID5s7RbEic+13zifMCGAHklvqgGzAt3+Z5Rus+UutYvG27RJ26tqW2gFF1o+GJ0JWy/T70yod0qfc8+349gm4Q5YBWiL8QregrtyxWsvdPbXqsMX+kE1TBcgcBXp2nGsRVMOvuI8XguseXS1lbzYyjr/Cy6nVg+vmnbIRstXGHiE5O+UaAi6f9RrCOb3waKOHzdRaGzIeVswut9HmOfFruTWNzHx/gOhmY475o3/ZPXrFhu2IJmXJnVMxAzg48QBbr3UcjMjV+hcxSOrRgqyTKNaCZksWkZ+gMoxJAsWRTPdr3vdvk8lZ+UKJ4alRqNRzDEfC1CvE+MznjMe6zbzQXOGUZulSITU+CMk/uYaR4UpzDyuRCpBiQfJIoiYxyDG53JEOwEVYC4GOK3vjXd0TlhLGnED+rRIb2A0d550EwrjD9MF7g+Ip8LuA9x44OsFnugBOFOlm4JUHG7483XgMEiIDPqsVrH3LjdkmzWKKS5LC2IFeorhFWzp2lM00C2Gcn/mXUd3TESSIOXOif2mbcTPgsqB1iBhTcvS/DU5uQ05wHY9vATGXht+yhxpimfdF0wyR8di4Obq/4CMyPa5t3/qdlu+0wmZcw35+6lJLPUGjqBxDbLfLKjwqn6tnzAvUz2aduEHjWGGne9HD/7hsVe2DzuFGxntUjmQ+ZIOIFdpwQ0gzV8P0JLeYGBKQKYLTOydkrR6c1DqvEaAG9gYqTA96BEcb7Yc12vOycY/cUG9ly87j9RaTC+9BeT7Y8Lv3/wQqtPK4aCiRMNxWW5pvukDVnVq7lo86pyCKpaAloY5xZ2DlavY7gVySAhwdKcNA+QxV/ATymoFMTNOyRMiqks9ED/4TqfKSop+9gEmPmqNGRLzRiGtws+dR5G1lyKbH11PtgTm0E4rvC/Tu4olOYsBAqXIktowBXk8MPXn1i4LcUvbMfUF5PT01Cr4zlNegqOzym/BlpQTEKOwajkN6gnxgqitrndz043fs8bYcwv8k4sQQG7NDdVQUNinWybpgei8DRhqnQcwbQuqVStbF21p4gl7eVKGY7/jQAxiWL6HdfC92bzZPAllpec8tKGR0YGrKwPrNbtqSUJh8i8KYed2aZ9ohoByqeqh8yFVxQdRIsPZy2B+XQivJifIB1SVJRtPE4bI4b05rL7s+MG7n44NPHQqFmabUCiHhmbynxQ2F1f0OTCzlmrA5I2fm4xmdaaWpTBu1poumoKCVtwmcdRdf+z76yoqr3/aHancvZjH9ydkoM2Od/cBfej+EiiPBW6V4kLrWERCWY5S49K5Sfm/UR4LFPodSPvAWoFh6I7JrvFC6g91H6lyXHHuoew+4HdbJXv9QPQUJ4dGKW4N0vH+kNoBFmveC6DtT00KoRneP+YzWZH1z9GH6FO9reUDDtQ0ZjW7sy2yC3C5UH9kyclY/wTLRW+8JJ4FEhAWasLMpoKfMYx773NWX5gQrQSExZttWrR/LkdnzCM8KppFTqYrPxuBC0g9MN9rWKlbSkjHXuOeOXsAOAFpF2/R68QhpSh9kkYs1fkOAsDN3ntinQMmLej1uCsuewK4UCVO2Gh4Ei9VUWMJViK7nz8kmqwtBAEhdgLk1lKsoBkFEnCXBDkIl1snY/TUqTCazxj7xuzwDtDvZwRl08/wYHXGM8b+car/jMO0yA7i/qwbp3DnXGhbBR35oSUNtkwK/V3X4+aG9z+kAgf3DKYGItU5RcqHaG2jiG9uAenjk2dm6WdEdcuIlNRchwdcJqf1IquRW6iP1HAystGukA/pkelXQr3ylipRz0KDbIhTqXGakZBYqtHbZytN4ExONTKa8cllptSued5kkZGXTHFZ0Tim6ix0WynuVR9v4/wxivIH8gJXrPBDuhyn4Pbxss0NHhMZv0D/eVcGRgfAY37Pgc+2Zq59V1Bksm6wfhc+2Biq0rh4n0cqS7UQ6onL40HUl9R86UWwhZMK7bH+1Jsj8gEYudP8dyYF0CnWhHp3eG+Pa+Pg0liy5Q0O/E3i6RDkwXpVF9TyCKOQHEB9VYOZujz5kyGSteu26464jmZm8G+5QZTEhKigrI9fjaLGr84+2PKkxqdvStxyWsS/POo4QVO7eZabm9uLre3ooplzT7OJDGs5GAvTYEHxekTBnyPQ8F9k1RLCvfJfyWGQ/wdHtDREyce5XAMgee6KPsEPVm3vFEXzjKF3khIYYab59LWx8OSr51M3Wd3BCOlvStITEyVxsxnW3T86neC83/lSW52o5/c2fcMMy1wG8xTj1Zrxi8UI8ZbQNlHBlT/REEHSevpkFEUf7XoGr3NKT8lFoA6G599Ju2A16rpOixQRFwW0YWIEwIUhDG4WI1NXNKRyYBly052UAHo6BDw7vR4H/mFH0/togVLdIldh3przPWeqAiRgtmg9nXKeTEcm+OB0mwFiiz++NhV1+i0mko6nLouh949xNvg9TNHc0rEBMkaJPGe6CLjdtpqQqjc5bF8ca/9HSv1SCaPk3XIUVhCqT/hTvnCmtuLQT5NLjZDlMJIRf6SHL7nib3QBFsFf4lhYoKG001zjxF2PxV8swEv1NwPyCBbJTnnmV3bDjeL6otCCtOoheaWWtTUbImZxW1t1qocgIj/ztuAG2Nbx+18EL7i+OEWWA104TrAq/yJiozhh0tgUv0XsbCVjfR8e0Ay/gAWhPVvBKCGcGUzS4sOmTGywciQ0dwYGzKiRjdZdCWV3W6iMN55+bXFYWII+JvxsZCreU9/PRSzyvaN8mp9JGY16dW2SciFGnG5wZZlqtQVjXSw1+yyyaa55CY9k0kdtkzCQBruXXXQ2H3CUBveWWiC8ly8qQ23TPwxvo1C1MCgp+jq5ReEJ/A3k2ThlBf3pnduWKkYNRDru8Z63SnMbvaRWtIEYHZ0Wpom2AtMYhJ+bzIjxoP350DO9T1ogZ2vbi6yEtF0b8KR1hDkZH3IepL6S/5O623GgCpJK8fKLpvPPdReoQrIZzW9cP4NfdUYoh/J8Ex2SdwTrVtzWmja0juS6g+y/yuX2dPfedYf0AXNiCSO2bvZzBMaSNKeMW8h3DjEH8NdFP/ldnX9AIz/rtp1f5oYjsiUXfbMo1WgY6RkLzTIeUqzESyyvaclscYmqD2/hZaWJSyirF6+rnYUbvQJ1A5Cb3pCk0M8/N2JA7yG7vxqorFZ032XMvBOG7Ut7IdAcF6PdhA/YC9Ak+laZVrua9CvJWddlM62OKY+pg6/vsKSOyS5rBSgZDLmsRiJjah5tAgG0gj+XyGQ53wFV5Rjjr2z0slW+yySQ628Y9lnzqWNOp5a3fD+CKIPdiS+mZv8R+Z8Iyjmftinl/ecGanHoqQfJlNsQLtjolAVzPPvCFdeKh/BPcr10P/yVq4TAfvDA4m+bK4sT/m/hwVizWEQVvxQvEm/jOhBzPNr8vU5rIYdRklinIHEQwc+tILCaJvgpdmcfpbfSiqCW95ii2VSH9J3WuvqC54hfAG2toTdC6EKIGu3jBVwHORf7VZ4H5dbI4Tn9pt2ILlzVsSaeW/iLZNC8Xz8JPanyP+xQh69BlMt+oRf2tdt8/zVrGdXJMbEQRyVRV1/3pFXRlv8J9ODQdVbe7v0Z95dfac/Iv9qYK0LRQghkS1RvbaDLfzWDFBsJP+OC3/FeczDO1XlJhQCeAwyEZ6kfAxu5QSt9tGe436T7MRuKC3l7wHeOY0qq2Rjue1L3yvbEdFYmi1y2mEnU/SKaczsOGMWI8uIfkxCLrSfD3hK2AvjVHM5tTdIIZlJkLNnshhz5mdzfy+xBrJ+4y1JnqjrmjqBml/k2JXfYYPg9D9kIwRxDSpzq4Avbdx9NMrDqYz8t9Oykv5bP1pQyv5scjXQdFfrvp8T5iSu/LCKoWvtRKLVJtc60na8ZyFcphcmG5Xz0URGfclgM6xV15fMKEMd1bFo4GOABgexspgdI4K+wAOr2qm6MMmBnkXI7Rq5RJkzOqAEyBi6PWE6j8O/UBSiVqmKDjTjxq1VTfNPrqnIFxxNGmNcDadqnfNZ2u7xEQamXsgfUxeormSvfNm14aY9xi6dYePhqShNe10j9RnWNvxA2vSVsJCW5it/pNwpicqa3qqan1hU8c9TNx14OxHqv2WImjfXTNE+w9XRkiiqT6rJZMYJfYfWhQBmcPK6Ls6XSOZS5BLCDn+CdABnD6shYv8+ElEuDSOtX9lJ2jyymUQSh4dVI7C7ZAD1lEGKhiCbRl0ns7HvQBsgGf4YVIdYJDlDxiKgf5pWv9/jRI5qkXuTjRK2tIBPRgiPxAzhi2iTpp4B0RLEyWziP5hkM71jRnRHUR1OXQYFJIfQiom13YK6xmm+l5eqcydSSkS+Vh6qUI7pvDWMHFmkj5LF41qGQwhSKv2ABca3Y1zqf/oelYJoTVmkc6MLjKDn8PsfJcbD2TanHNF0OjN+44L0YD9nVpX13wUcBZ09GWcfq+drbkqA5LeULA1UAp+kYU2r4JpWN3ZpE7PfvWP0FHQn/dAUc+D3M6f13/mowKazFM5emHd5Y3gvAW4LYBeKzhdbwuwFR+kiJiYzoBX7RAijug1qEm3kFnoDViqEI9y/+gU+gVMiuykEXLOLg1JcU5u5USsnj39khc5qxV8hN8BO5mZjPWNJi4wshKYoVgcZoN6RZFcjjmVxu8wqzVzWrhUoGIkQCIvHyCgdYo8QI043Weye6qlLn0UstwhGRfOLPx1cBBTRsEQso4eviBcrKdwYebzZfoEmRcJbZN+Eh9ApFKQk0QKp5v8lDDrVyEFyuGk9SE4YuYpJGktv9L+Jic2YdOBv+BquesDLZMvHGX2QnmZQpgjOk7MvPwv3dTPt5IJGe6xosRhXnmMe20QTsDbeMvMW6/XgBA0xHV6ocfPXi/PvbYrAmELxL0dlkzzHL/EC6mF2+8kPPlRpaQ4bnqwqUlqv4wJKTkjovZngoqHDWiSPcaR2MIx3A2huL8TmvfVQaEozhlA6oTALPDQmLTs5Ajl6c0ad7bPh75QXWuhFlSIUxhdZZwlM4r7+nQDytzu1W1C+cMvIm8gowr5h17oxGTmjFJD5XAy/zE2eO25LMJtFCvAKepthgaD0tnNBh6wN4d3KuTR4mC25AAJJeSu/kqTUJ/H1wSmz/uQ7+Xa2E9wPZVyWcQK2afGD+X5Y9tsoliQXi+Uv20fZlafyvSlMqI6dIdVQhGFS/oSsWP4H580nvjXIvB2SQsOJxf0oPPVzWoBgKDvG2sf1uRn9oyD7U9oTAp1AkaL28shYYGKBPetADaxsJCAAY2o+8VsZ1YFq+yA0CNgKzaa8zDKR0h+jzZAF24KyCRjQSixlwJlAJCaqgD+9JeFrl13+OzrcEz3C4ze7JKv2mCvtvYHx8zcwl1bNSxw2Ky3FvQqlC8lPviL2K5IoquPzfuxwtmcCU9Sq/Y5iojv+f0W8eoSLOkJA9Ss5J0Ko14e1J01zm0Mda4+STmyz6riTMAsURPZiHQ1Q9za0QPtuytcbDk2I394Uk77SsagxmFGI8O8mnuxK8MbHGoO6fnE5emrjPZsFLbVUF5/uMKShs9UwD8juoFyzB0KkrNanOoflmNqIULxLaRbc2PuoXP2ltjd4i+qdA8mT18EtNia/xaXmZQbCkpUR9ajSk3YUPiOEE3R9ye1fyuIPRUuVPhmn4D51GJVTb5y6PNEvX8yichHbdUyuHINPbVbw2PIxawPMuoUDJvogFY/vxXuX68rJZzdPC2eJhTibBM4GPMWl41YX7OuSX+ndwKTrT/kOAcESMUm3D/dsf9v4WfEKCjHlrsd3EYlN2RVKOfuryszWPbeaHGM3Qgy80UyBNv1imroIsW9J6tJ1ufsnOw6n4rhgNjGyVbFYjZXCHY22wMsdK2M93Creu8RtDyRCXJzIZyI5pTPz8KX2zN1YVkSx7qNBfKF3pd13HWucP/LlQyKNyy7TEL7SJpUbsdsdXglsJeTGbRh8PHC4yCrsEsFJpLqrLh60xVdoAjJO+LerubXDo/jS2nB8oIuMESesziUCJGBIbLwyXyDNKBh8lC1/WvVApCUeW1qXxOnEz/gM2Jl41ZYoKvSjEFWYv3bnz8CM413HTNN5tvdkc6k1X8ymlM1zQPRdcskS6zoiib2+URLHX0hjexj1I8BAAGRBI4pGeshYQexjOewgBrVydrR1GN2RTgQG6QFmqC3GdfnBQ3irEyid3fHeB8e+1amzUkrBv4pswFadVCCVJ28hgxrrZRqXoZkSvakT0k+2PO2YbLcGcbjNR4F7VvhH5boL+iRv2fIC1GFRW0N65ax8spUodGikOvIcnxD1pcj7EYYyyGnHlJwBi6EolaOEy7nLTgm34/Yfono3DAPNSLfwDKonYpQggcf0Ux9IqduDIqXOz8oVwONOU13NTQgGtEOKCevJDlyIUwQxOscXXo4B9u38rwurdCFz96cKKb9hCjthlcfFoBTFp6QkEvFqwdFj2IPoaZcX538TTRynBH4YxYjnzk9Zlq23Y/j1hWdmTMaayfVvgkabLSGQ3PlGihchU4XqXA24uvYdLlyGtrI+RfhujOp5NzkmUr/yzyJY/IBx7NWETUaf0TFu6udnfBBgIQqfNFr0FT23yWMngEs3GoNHSV+uKCd94rSAkcxZStKN8vXk5m0UO7w3X/06xzBX7FIli79JxYKrX2Ul48SXwI+S93b7jKQzeDeyfEH9fp+T2ZSHtaYOpsRbUiyDhQctq86jUbpsYHvjGcOnHbvj5D2CxmuwwCA7DlqGzIrvguJ3THkDDYy8rD7DvSAbdUenCJIcHlat7+C5srSaU67Njg1G9prB132+jubSGdS0s5oH2JgMX2bqLnmR6l+GW/aCDjRW4WIH1NfvNRUei+ncGArswRnCOe2x/sZ1tWw9Vy/NrvaA0JDmTXZnByaOjyKPZ27ROUifBTeP/nampA36yKKJoS2/q3bMQWo7hahpLlaCJXMvUYkk04YWKJBCkM4PIfEMJOlEO8jb6UubFO8MY/QvsPZKyppb5Tw9wSapdxxewbD5zVrYeI6rT6D5w1+XBpV0z9iOcynXGk/fNphm6EVLCz0R9CaDsS6MrCeDlTTnR1gChhYdTtzjijd8Vc8sJVKE07NTzShHUXOaqE62d0BgcvbQsG+3ZWIdOJLB37byhcuu3Ub5MvRO7VdyuJy474MG7zoCa6XTC8PrMTde5p2RwWIqP4GOG0sE2PrOPOFq3R8rOTPZQrsl4AY4OfOnKEzQ3qF9BYJcjBNN4lzyXRPrPuU3H8LyQsXj23RyYa3/QhUr0rcsoZHNPAW9Z2pQDkeoHO3eCDEg+r0q0/uo7fY6/L6+cv3Y4mpuhkVG/AbmGY0R/Cw2SxUiX41rC7lzwdv21aOTAUd2BB1ASryfizum01q6IZLHI34GsPPmA5CJJ27n+g7W32NFFLu7bHjN8jhujFJoY6cBxoo/Dr+hkauxJhsTFraInZPl0U3KnfvmtEDPEKjrOl9WhFDv1i3vZdXFiAh07tevOT2RQa4BFz5i0Q1Ad6P8SxdYFOMj7poJdR0Vd8/FpA8jK+ybF+rnMrfsRI2MLPHWWXUkdrk5c0IYFR6yMPnkhw7wZfGsdTtusp0ORbWlJkR9FM4XWFYeIjTJbLOtp9nvQSWwDNB2eIw+zb/OBfDrycYHBzSgGCN3FVUHIw9W9PblmBZnLG6RBbcTw87BQL+FI4RDDvKELZhhCB48e6foVpx3ZHK+QX88SwttAOozKZAW1HNMHMJN106SwOX8XL/0cD4vgCl08WaRCmeWSY0LPDR3FreO+B6eVrHROEb8O2eGWyvmJFnlw8PD9Q0oCKHeaOMGSuc/O0Jn1ntgu0/5wYhrPBl6gehAqkiNBhA4T5v63QD/aw75vl3VZtCzEMCA4sUhgJaVyaDYx2G0LQEb5mCylT//zvyReMxK77nyHIt1DWby3MCxDQW+CZcc2cKfkPxfkUdc4PABAdYwG/IZ5GiWrucbjwkMkqplYGaN6yDoNSTdBVHY55IvpW1+Yn+Hla2kj8Llx/yIeU1sVHc1njTj6rLH6vwSZQfsRK/HPI9CA0rXYKAjsBCBUa/NSA3AH0DGyCmQZBPgcqY5TEJik914ZdGpbFAhlaIEgnopCBSIkLvFUdY4YzI4BP+4vokavJuSc2OXYr2pyQAW6ELp9Bf6mPx8y/K2FztYEiw9H1oJsglcFCNLWkRixNRU2XNrC6vl2b6TpSaQE7AraVZ+hJ0truR4YwxBgZslfy0UbqdadaiQ3yVlwJJjI57a3MeXlceNAt9kVAJwjJd2UPI5Ri7gaajfOFosCgLfaye2NIQOZUED8xVXidI9n3aZcZcOfkO3k/zYeU6C6KWD+poVGpeNojpswO7t+v/krITI+D++gwF5mJqEiU3xk0CaSeWdm1zgyy20VJHqbztkJFcmo84rwVprlSlIWTnklh2uJ4bs6Sxv3InW6wH0qd6cJQAA0vwkdbBziw/mK7Qk2RtjFN2ptSm3KhDw2xMRB3mBX3CoggKz/pWFVZ4qTrIJj7Smd2B65n8PtukNBhJPPykwU0ZTEU0wkLFhXUoGjxGhfVvRUJ1l9Ml4eGrvECNkJ1YV4e2Nja108Z8Tc/WYjiHQC5wI0Q2ZqPlTZC5CopRZWKsGFmENJNL6xq9T9Z7DjXwOBfl6ZIhJymcBAe8QdzrU4mUBfn/OHZKf2cWvRNhOTSNH8Ft6oveaV6Bl2vFsDb0KmXjmDqybQC9hi8JmNxPyDxZaEBwwChEaJh7J12bwwpByiEK0IIHsE31PGIEwk4ji4M0il5hH8/hRDX0d9pPeqj+QvIm2EY7UJdamJelfkXULZEpHRJxQbgUqewdRRpakhBiZcTWIxMoZM4NVeSjHSTHEhf+vdV2wLWR3c5+NfTFnRqwOfgP88n4Ersbhpa9mU7qDCTjhMx+sx+NdifgKpyxvyFwLHYAoSYV8yAdaFL2hhuuSRaa1P2pRQoJUo8U9wuPO2gUFwCnxsitO62PfjDnOiCbYv9EXsZgMgwRmwIYl7a4zM+zB4HjjN1V72gsM7doHkxuuzqgEBVM+hmGcVkq52oXwZHyie/80bjHDhESA3FK4oLf4IQYPdmX908Eorj4hwwVX40xZFXFSWWsu4MsvJHPn3TWCKm5DvIoIsi/p2b6eTxyV+tyF+LyWPXa2VqOjxbu668Sljv8TbffEXrb/JCzsEumHunhcqE0h7ebhlIa6q41gBTswoPyJE7lWBzn9VEhj7JhkFSG3qJUyJ7mNPRWxrFCLzIDlEBkn7oTXwGpeiOLQXtUS400G5wr8h1DO+NMYRSGGH5UV5mvmnRd08F3SqFAiQv2SbMRFyVk2+zE1Pf1HTofVNvFtxHgiXW3uYk/AzcrlWjOzMAdcN3IT+jOoEzpa2DpgkYOgatEHL67VJpk914+YYdMdfSojBi4mhX05PUPHJWMKEpAmUFkyQhVbM+bs4lavo1FZib4/V2hzlvaO4yWj80YmvU00fw1N3n7V6H0GDNVQ2AdT0oULf6zLqf2snUwhzBJySrBXiVTrjCAMrZYu+Ja+8RHDUZ86Y0qDbqNnwILFcGx795xXdaKde6KDTwLCBWC4pLzaJYZZWt19eNVaNgUDKECEVU+By+FszFjyfPSqDICv5gCrOsyc81pPmK2kYIIcxyEtYW5WxCU/qmXW7hAVEWrsC46Ha0y5NR3PwlkXZm0ztardvFfF9B8oHfxQrQByuKwiRIM97sZJ1elcaNr5AZymZAbzk++oGhrGH+/6IsD1Edw4rDFg0h1tqfb8oZ+0qXEIdrQU0qgeTz3w6AGt4nzUAwk2MgJnuc7j4LB8vFQOU17BptTPMZV7Ft8OwJzBu7oBbGwFn6ExUCNYZZ53+oEQ7U6qC9BBqiDMLwisvoKNNGV7QVmGG+AehysSnQLejDEeoaTgb6V9m1+hkpQjLnPTIhZiZT3WTzzRPSLVZTgVhMPfpOkc+rfihJ8edaEzpO93RR8SzduxbA8tniIEnZkQ8Qchm4v7bKW9uY+/iNH+RE0vYUBB/LMcGZxWJIdbBEj+pHbaZxxTghG8wd4G682gW3gTxSIwgB+5Mlgv+0B3C6C6PehfjW7z1HEwwiq/QM4PGbLQ+VkVyCgwS24sNGq7tLgkI3bKNDmSx9KgseCLEE1GfvNNrii0NmLi1YT6PhItPojhJz2lZNuaghaMDCnM11eZ2R1B2CvelXr+JYiZoUlRidUJEAf0L9+gZMbDjfzfw8lfaUgMsi5ewmNu2gsBIiAUIrg6iz7bw5u1Xkiu4PhZ5aubBtweC/fuaK2Yg+0YTDYKIWaun5NkJ/Y7l3iI1bvkhQP26ODUAqMTAZ1ZwmSYsWKIy+bk2mHNGqS35cPl3QhbHy7Uzzi9RD4gACBEVcOOZlxZFxtaH12QBbEskXyUWCFBXn2X1N11t9Drz6EQdRs254BkFhGqXwXLMfMjZVtJGUQrrLgKv5jLhfqxspgDerwWL7fk1s26a+iMR8bmz6gMigdqCbsld/xHahc/dVoPxW2qinSFKIVzHZUXncKYyZUyecfVdYPs3mCs0SPlRopC0udp0AqpCDa/Qdw3l8ZP74s0vsTw0miDByI4bqoN7UJ6Q982NBPWv/i9umABHgydWLREzdcY9jDTunSxk8ohP5m0xDKZEWtsE5cQC6sCVtpGx2zx2vdz35mGeMXmU3+EbNENczIV44WnXhJ3oSRUTPH34DjHdiF5MkHiy9TIX6hOnwaXdO3d7AzLIuMxIhrZa2tNu+ReC3GaUoxuaVcneV3rMoUYjo1+i7fceBfBC4q367AdN2QR5QCmJRwKCE0aJzMIT3EXerv3v6ndV0jG8FTUNMvlHZOu8N9wIM6oQ6pmIHsvVIUefbO77E5Ij/nQKAPlxsszT0PKp+xW5jGQbsQr4d6d0N2p71uNwysZekDHtA0vXUzEDwTB63V2Yf8L43x1y9XPSAbiGxCKaG2m85cocKmhILjhr3OgAbDOLKxP7/PUvYdW1ZF0n0YwgbrHFU0sEJoU7oyP5+07Zw2vgHQ4na6BqvHcwW5ghm8GM93HbWR+PrBLGETYAQBrNIZMIfz1PcmR6Mw3C3Vrcldz/j5ZPj0tqcUvfENgv+FmSdVjzqHdi2h4ct28cKgx1rZBlwfwWSVxaYYMAhOQGNZpLlK9HXw6146WvKovRxpcZT2386sPKweunNxf+qCcE1dM2EAy/sQJbjIAT52fgw84/s3PerjZxl53Rz8Gvq4mkWpKIEQ4LkelZOD+QSLDSNWGIGxsodcWccoxVreXMo85gLT2OOvF1Z7QUj6oAOi7z09R/9FOIuYsKALrIwLIlKuQ419904IKGIjSpJ7wANQ30zz0mnTGoa6SsCD+qPmw4raQaCUucHFHbYD2fTFZARmQjFzpECY/VnPQQiAsOj7xWH9v5xj+J98EnK9Hs+5B24Pi6CppQAZ4CMIPNman2fOMen8EBsMDyBT0uoFhwu5tiW01s29Rcr7m1KsQVptELVSSMvMzXLKAZvWLS34q3YOASCg4SfkfgIacHOp292MB+LOWUxbF4v6pHmte3QpumsnkXmXtITKuyfJo6C95Wqv3vpSw5Pksb48ByiXDIl0RxCisYTFGAycejfMA0zGGnmM+htu2NGOWpmLrh1rOPO9bgka4zjy2NMAWPppthPmaqp1KIlvrpXittztPYkRtRCxD/6N8BXUCq6WwiFdPFt6sz1Hz/8d1+6jQpbfuJrZy6WYd3AvMLakSR8DVZX+SLL01EAfT3r1Fkg2SqjFbT7fFliooZgn87a2tyBemWu/Z858Zk5zdsdhMQtLF8bYCvU2/xbYld7QMYfxV5zf2l4nJWOFG2L+dtJKatz5SCIn+N9RVRq1PhqSuWxlsM3yLzt6y6akhmjc55BwoFeoSuHmeL054/8/SGiIawkysxt8jyJENh6PWbzfmROqC/k/Fw4fGhjbP3F9Q71ptCNF8GKu0Fv1xXo551nW4u1j2mVNrWywRMxbAKU/elFyJJvR0W7UhavuRbsK2qtfcA5fmKSbofNI9p/iyhLr6eL4kp3HduAumT0CsRyjcqgEVw+vlZTd4G5XD2nAgXa3e/XHn2qq+AcaCtPGgA3jw09yZ3PKRn6458RMrgB0GcZb+2uI8CN8lT6+s1+neoFoRFylm1KClmSKfKngj4TJS9RIUPDQe4N3qp03i3kbka9JdCcOwMCbrVricc+3r34VyJMLrFRsN5DC5RRjykJoqQX4qmWR890qWOMQmwYK7HLbkNmHtZ7HfBsOZl6iN2QYiii1lEhHNEUST7jRlciUShc6cJSinaTgFGkLll+D3LkPHDgmQb3ygQ5B8JsdnaHTatGG1U+kpnf5h1j9a8zdvxiK9MHUTTGK04CifjMaQV+kQ+piWvE4xAhdNY+vckxzm8/zjsd8MDgphHIsFlNRylyyPJqVOLljKrMUJxxamsSMecfvBWHuegcNAzKW2+ToQ5ppYvUv4mpZ2/MW5ag/DCwwuCdXFIw2PZy9PGtcw1cfseNH9hdyWE6uFCdENQfGn/Sluaa9w/XDEsMZGktbhLhjTR+5QjIhQsdLPoXrX3+I/roHFQlIIqeUDWscs7854bwEe2pW10mzOhg4Tm0rA8ZwfXa5OwMwItFGfr1prvpJz7MMh8NQvOrgVQ7AiiUtBaH4kOKmoxEA5YJ72ameMxu4FBPF0x4C3N/9KReWjod0GBSXDgV49/uT9Rq/faLejFOLJj5KBUTLELM1qK5dRR5vwp2ld3S5n1qKDETJaW8+lpC2JOOi6SqlyR9941sf/cfTbp2kcwr3s8M2RJ1gJUL6RneCDHzY1gHmk6MxwUrHxmwH6XzKJIb3X1OdLFPAtX3a8ljitOGR2AAOrBi8TVvyP23oKzjO+cwKeR+JGZSwfqoZy2WbgfntZJhrssDnWKvTlAU+jVG604fKtk7jYN7S2TfIhwqAvCGxieInu173zPw8kmTygLl0k2dbdLQ55JEvhFftixGyQLUXleahH587LwCq6SRReEGcN/yjYN9cTmA6Jpk4l4cs/AAA3uvU1iHaIajUDgVdikK4lYh+XXqHMivMY1/BP45vQllbdSEfwpY1ukHjEVbWwzzTfZ/jtk6QyRKN2d4LCmcMm4M8f6tf9ETSEFqZx4nDUPnbIS/G97Rnxi0oL7Vk5prHrYrL3FR+PVS8vrlfEaXvPvjMkVlJUtafkUp0kYJ3x43aSS0KYl092KaOSQAmNP4gv9wla3NXE2PCqEt4VuaBoNUE+7dYkxfNQozmiyf7teEjaxitgRgzyqLPrVd9F1eeWwCVDtCjP2MvSV2iJ6fxAEuGy0w/BIN2sWywFfwtBZOEfzcpydSEGE8ova5YS1wFTEZtixbd2/IpcegkfNKw2nmEKJCUUUO2SlS+kpUBL65dvJ7sAKriQYfedpBJQQnkSeN0TqSH5TIwEyLMq1uaiS6uvQXYYP/UtRdMJVk0En7yElXA5xnvDfLapA1C7yPH+ekJjmGKTaJ+jBGL2jovpk82fZORWXJsfK0O098vhdo7yOuCW50qQxchfd/V+WNfR9ULvlHjSzyYtiz/ujAZQSoVrv8cgQZF/4lFM61uZKm58olk9uWuok8p+ya0CIq3njYJ3L3JBGkJcAYeZxcwNID+uFfeNLdzcawGh1qZeNlkSD12AO6nOWZ7tJldMdWMjAtsQ5NaWBaVCYOrVyC3VrG1VQlq75mkbWVnenM2nBfpGl4lirmEhDJaskGGbJwknQmJCqNjfz8vAwrIYSz75pG7dkB/96wrdOF+5ttLJ0tudnBo17I0rN6w3d9kGbIdS4UvC1ooj/+5/EFeZQnxRAmtbaif30szLZWajioKZGM0T62+pKdSkvQyFJCJ68HZISREv9urnYKetjgaEe84GGfv6qVshFbdCO88ZahxoT33eTsxXh9dl+uv7FbDbTi4Yhg+8PNIBT6nvHsAFB4yL/D7+oK56y5hRHBD5rTbQJ8hjduFPDLjHVnB3/QtCFbB6FAD4XHIF2FU9lPa3HOoEXOEcUbwkeQ1a6XE/HKgvvXRc/BS84BZN9u2vO5NexU+PeCR9DaL2/zr1wATR+3tjh3yY5Mc/4cEMOwsWnUZjErYMHHujNeIJXdQJjDpG1GQ/gLw4eXUNLeGSO5Zgz8LOPmZW1e5fYjMS0KDmjQlaa76J+iQ791AfeIgj9gR0FRsXpoO8vEP8TUvWZDwG54nzYy+gGfKqYqMlmnz5sBAfEGHmcoQRN66CrpMe1AvlUIzJif1Uj2Ynh2wiCJkcjD12xk9T9SaTbN9vd9Wa3atSOLPHn4F9Xg2Eri6TnsYC+j1HcqJNM7vGNO2E8OJnuxEV2RlPsKVedZicySgEgxwOnvBHpOlSYhuwLW1HJNEqtQ3YARoQRrKDYS2OYFnZSjNO97dpp+Z7+BFlLBw9qht/u92uHnLwlTxbXII7yrdpqzKsrPCe3vtI0uxxTkdPJeKUpOfxtQxUchf+aIQBSRaxLKjqQdhEiuQHLjUHuRo8iZ9Uq+mc0vkP8mweS1qecf2lcnSsWRy6wazJFzvu5M/hfq+GJC0UAnQFaj6Yqx7Ps0fpRMRruioUp9WWr9yn5DpBL8xNBqG0jBdr1C4wkrVgop4tn4LBAB1TNNwiw4SO7guAA3fmOTXGC/jWUBcVoXwVx1x9cgOFkQe3vSsodZ1fXyxuRvs9e7pQMt11KiCatt2FewbKqgMiZa0E67xfEzZJ9IiowBU1IxCh4uPCcCfOqyHilXHJsmckDG6dZEN6i9zNrmS5NhTC68pGN6wl8xDb9g0ljmYABjlGErdw8I97a9k8lZeSFz3iqyGAkW1RIj/o8yYTXX0/lqUcLyYXoDsd+PLfdmQIN5hfSOhw70faMx73qNKSzGirogv96cIxPlcbQgvoe2HrMHNQn+wFzt4sNSC1FAgXBG/Y+rqfXhEByxHHGUXowvoqnU94b/UomGVxy/BBtbEGB6Sj+/JRWok49xF/zOsUkYinp7pwGqhYplyb+wNe82rJZmy3gzFL4ylStCKSTIBhIMNaMPdfI2ANmwcE="/>
  <p:tag name="MEKKOXMLTAGS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PICTURE"/>
  <p:tag name="MEKKO" val="MekkoChart"/>
  <p:tag name="MEKKOEXCEL6" val="False"/>
  <p:tag name="MEKKOEXCEL7" val="False"/>
  <p:tag name="MEKKOEXCEL8" val="False"/>
  <p:tag name="MEKKOXML1" val="4HooU0THZk28POP9trq+pbTvvzd/gcV8t56cq85kb3NDTsUhojRA0EsgEHHMH7oYP1SYpn09ysXVivguJdhTvfyVMsBLTGvcX7WPTor/CmXfOtOhH41qEIghVTfcT6o7+LHxt2iMj4vD/tblS6qzJ/OHdSMGn80SAkSMQY+vPsTFBOXVu41tbu8+6L0VwS+f0YXQsvhOkAyC9Q3nWduexXP1SnER2NIGshevehlmtKd+FtrOgnYeeOJm2Vh5Ae+y+xKhASf/IvnVfgtmbX2MyuTiuvk7voq6Rh2cOkR96QxxeK5kgawCNtUErPBqWVpcRxY69QRqLYD0d/R3mcrF5ZRvjT9yV41bhvRjGKBaSy/m+yRT4frjCaxVaNKsjR/f1Ci1c8I//o14A6hkV/Ahy9HetNYWo059XhLhcsACwOVpCafS/IFD0uR0vAWLFyIUM6aAEu7CFhzTxULFIFHBcUkvz/C3WJ3lqHf5xkf5MvIrgCRY/QZC59BgzxwSxpecveb4Z7fyu70GTl803C8LKOyGneG8SAGpfUeG8WTp+d5apno3MIPTLE7KMQ9EsFFjSSMgMzKZME3yGQWBjFFq+K5RQO6jgOfolyWl07nDmyPLnzZXkljID715DP1QkKVGGBxtAPcMvXCINYfbJaxiZEuEmvozCcM+D78yCW1oGrDvzcCoi/iKNKwlNfiJrGiP2Wkv8vRA20li1rE20I55J6N+kzaqG/T4Tqbg7pBP1qvbkKy6QcLMq7p+Im/jISfubdkIrbLvoCnBp2UU8d18ME9B36SAu/nBq7uLY/5WAtn5fOEP5e1NXucBNp3eII85w+hQX2UDUVEhzDGT8Dykg1WTRgGSonSfZFQ1s3tfjsnmTz67295UGft4nhjFAAH+NCJj4gy+/o6Y1OuT07EDztA5Aa/KAfIeGjR0rj2KaXGj1gV/5e8bB5XkstaeOfZFMIZkWetP+FEoKHtHAfcRBO3Zze+canBqeIerfztf4hWZrWGaq0dnUJdSjcF+uuo9A5kHwK5FbbbIFEEYDTFaSxO89KA5YMKvwayObowmaY/RpVT7B/iiDfq2AUIrTlClahO01GFYawQj6vFBpSCYh+7CxHoa3pcm8UsH9hpdRx/A8RvFfWka6qQdWUjB/xIqy0wZFHzGLyeo5MKXRkblAUB9vFYt8xJ9BGEuAfgXHA7yvyWWamuFPhFCfctvBK6SnZSNh8ZOzzq6EDJco9UMX8Nyh3/b7CpYv43d/61qk0bm8DyV0nwxiGoe1m8DqKJneHRshFE7a26MWfy59pNOOGpjmxmTy4J0aJXWB4JlDfyEsQHvlAVArG9Rma9aSumVdSO97cL49ZBIlg7qQwcvhS0A4xDnAZapCfUJl+rRfxvvgSsI89Vbzo+Jv9A6R03uyG5VF0esZKY/FsXryYJwDGSQOVzkfhA0x6vOcysI8Z92jJwcdL2SUiGXPJPX0KDxCPU5kWTcszGXuycqMA/MA6Ao1n7/xR4r1m1K/5EbmPcr69mWePM944zsqps0T8WJcDT3SXnZZdZ3c6sZSv/9aQOP8HSN70+6Ubmt2FW8tmMlUw3URz67VKGgDOHFn9jgUh3bjVzDPua5wgfmv1/wAxrEG04V8F8MekjpA6GrXem3lkIfNSPzDzv2h6/OhhYYxLkXasxYMtuR2ARs8TOGXoRS1fs1dsXx1TsFdcx+RMwA8RhIGl56hpfhSQBERaK64Yapg7qOS/I9KL8WgVOsCSJ9Ty8PzeJfhG3EnI1HruQqHdXTJRPaaW7d3n0DtMuDh0ksG3gydSN+Fhc6JDFfd/Quoet/UEPtmqK1UhTG9HGSZPMAX3TIkivL+uUoh0fLor+dr+RBkN3tufL9O/uVklR75NaubomtyyZuKufQATwCmFdXpRKpvBFtpiXkkpAkgEK6d49aXDOQCWyzn+Tm87bT/lRPke29bvs3ez8LdR7vRxtzusDypJGdLO+HyEOHQ8AuPXFEPB+gTQUE4+OB9ZtbSu1jch5eY4M9ujzpBjLbtjficSQt4eTO1S0P/NExBEU9XcQRJ9xeceVnlXQri6fs/OKIuDA2rnjKnj3YYcOCpCB558CDG2iR2b3FPnBUVZ81hcVPnqTX8ALlNkpYisoSojqqtflBNErOVSgfFzNqbP2QJpjrDBBPX83szdMi0bznSSN0epFnfsZuE+avdj1985C3WoCK/ZqoYow8uYtLlByo6Xnj4EsJ0vNfo3lH0byniQzVU1xzMEDg2t+dps2zXCKOn5m4fOAVLW8SdnoByz6/nkqLPi6YRr3hSaHaCyTky5714LaMg8X8CL5QwTFYhRSJ7g5xpFwSErQ5C8rOv1mKUedUBunBYaTFwLVhkjPzPnOH3jvTe3BnrzJulW7sbtA5lfyVAQi0k2FcwAa1LJFivit+DYukqhLxKViitRbB/dGzlIbiz/rMtB5KPuICao3wPu4eq9BLNVzdZe1LqNvx6qYYXwF+MTZ7fB5qWG6u2ypCfstFovyCvPTzDd80q51QktaV2pjBDaAIpmDVohfoTo7j4oc4rSM8CpN1tV3GM/SQTFHoomzFaMc4susYmnsGlr5ezmfolvx4ckGpGPjSYBBKSmF12nMYtYTvaVdPrzO9MldfSH9PYYQZDU+fByb6ZlPNA/5DSaL8Lq0aLNA9YBOgaK42aWg4wFNz4AAH41JmiUWpvNeU9olphMhsNy4CulzETERD/Hs8R0SMp+T8+lRYWxA3Z3z3boj42Dxr/93KZWbXERd64/NTgbCKqBpKoTPDNFBkSDzYwa7wW9YHZSH1PlHAxzCBMKw4gED47CL9hC26OwUJG+IdMQ129qSJ71OkWxtbQf2cuwH/WplYXPvII9f/UXecT9JYQO26dzNbyr8vfjmGalrVPoZwBWiokCDdA3mKdb0WzLYTLzTGKMdCsB9EyE4kUf6z4wD5rYGle55yTNtJuKDdLJTqwi3aSImP/wcO+DM1VemTye/fp3PeDwnEDHsgfYJd7QFIFEBXIZRYj9T2vecLB1H1+1PZzDCuAXlRjag5o7aOxEoJxjydiqsBS0hASbpyItjro+xO5M5kXwxsHr+esJt1faapET9bEin9ZB5nutGCYQUPldafKbD1a+kr0OUYJ5vFRksyGqxsOnDmRS4DPIkN6cD41sceEsc//sj/L5EPw8YDjcm5qbIJieANSrxe7XIcMTT0ZnDNi5HfbgygiztA/7lWMmFVO8FzinbZkW/VeysXcHKJYcYm9MG6RbnCds/QQZHvPKLRpSOH1SqbwYghyES4CYQQ54temXhmCfgLCaiNomkuToWL7VPt2nJbwCkLAGAViKkTrZQwHFR1uqaWfxzCtpurLw5RwdHHUKmdLLKLEvNGSFI097U4D1Hp1IruR7BxPV/arm0/hMoQ3HPksmr5+jQ3oGcgyCUI9/VIDV5rXIkEfc5HXkiB3FNxi8M3V99uaf9CbswhhvW6n7vVL0peNenohyZRVUtIy08oCe8qAWIUoqnrO1B/tN8Tb9dABfRxmQ1KKUSiaTDox6Ej40/2plhDhiaosRXhoOwAah9bPMm13EjVxrVkN1mP6s48JbY8ZykWKxpdB32dEr6Wm6JmIAp111LQwHwZ1vKn3HGdEA5kDGPHn3rAz0TVvoN3QytGMn1r7+aR7hxtOjyeeWk4KTIuJmWNYvc6V9/MfXgv6QxIVLDIJw63VKmhxdgXu9Gr0HcU/FuwTXO5VLwsC/UtTan81Q8GQ/wX1YqovGytUK3IrpTDOsAv7hByNdsgLEWn/+mbVIIO3fTWEC0+X5Ht85NR34DIMHztHSbWxGxTu0zcD0+EoDcpA3rs2ITo4bMvx0hpHd9uspnDfT4VCsyqO+8dlr0vyos4kOnkiXJnsqjIlWgTAV8QDthZHJdvNDyZFNpScsy8xWnUtjBOdwuXeizzf6ZJpQjPdd7O7rUUsR0T61KhLKc0EewM/KZ9X4LP7Bf3H+hWwycChseOn9Ewm5X6be/iCclNgueBNRWANmQX+oUbChfV5sD4gdDfAaPyQxxAcX83M+4oWaxFJXCJlzvRBefQ0M258KagLy3+CvR5X7q4Zj943gH28D2kmkmwnAxnTon/z+ij8isWF4ynSnlC1OlJCp/qdMVeFqKGD2Lxq3d2wvFirL20+U9okfm4qddTLPAvw3HYUejJfSLjDqewV7WMljJSFiwT6+s+wsZYlSe7BIuqE+vHFKNJEPX5LpI7XqR7mV0SIw4BO4E2Zp0EwerMvmFk83oElxg6IQpV2S9FXHFkPHOmXolHD6UsY8mj4xbS7jaOv8b/u9ElS/LCmaq6FUUr/ejE4GdYD6GJKrNUvFgvIzly2kbk1U1WTANfKN2xV0BLVRNRi+OZKBjSiM0XvFVueF9kc3F2F5eAtVGkazNGZHOrnj60U/rgxgBZJpGvvpiUjUNKZpopbzj7oekfr8h3kGXSGEYXuaAoWlAyd9NwXas5f4HXMN9b+Vs/vEvylzBpqQznkXnlWh7RVPP/kYdMNomWqebKYrRFycB0PCtxVcRQ3D3e44PaLku+Mu7uscVBxy9Aaz+8nhA5KcSctKnu3P2NP/Hz2DGwPkupiX//ChOv1hfkh1OCiZXSSN7CJRpXuv1TeHMZkG7TUCKvARuZto9DQKimtDDvRwJiYLxTglQvqPUz2oyBZ8UVYEcDz4BLOiHrHLP1TegxbF8y1twgJvVlZE3erxkXDb8vibdp4ghQv0bLjIEh1aFqV6KlWngnU1chghOChp/RD0zSYynzP3vhFDso007k525nFfr+h1wP90s/theWsk8KBxOLS7BI2ncWiGJxWISlxbP/e2jnktvzsVzQ4HywemxTPoBLbRiujpCDYj5mHODxNIsGcwCwrOWc6egj4Fhm6cvHjmPq+C55+RPbJM0pzx1iIyRHsEunfgcJHQ+Pg3IgrlQUb+Ij2nkJAeXTjTkyQa6T8QF9rqzfNTrxdOLMktv61bAonkiLFL5PM77gX01rPWZW2fOxD82JJnKdoMhegKDgtqjNWiVIA5dEkKwrkaRpGCcHhORcE31KgcbWu6MZui0zm/K1cd1v5aLF37x1PVCVLNiGtHwrfByNSAUDLll9UgDpQ+UCYZvDB89hvh0Fz+I5eWJlcojwB/wouuoT1zMH9HY+upwdSwMhKuKBnRVwHLNv6seDdj3lwNlxV+E3+M5uBOELnlgC+7w3bpgXKXt1BvsZY4NhhWzpchRWfhFN/qR6zDPmNOYjmeiEe/oP/oQYDNH+pvLtc11FYdAwBLgoswxMnPMvu4Dhm5SCm380R0klidOCEo5Zr/gHmLzwqIrD+jioK0/A267fddYThlj+mkoq2pGgW2Ws3UClhgg3jxcx6OT1wMO7RSFsinSzH0+BpqRadC1xqd4WgGX29eqD5ZvMgRvsp32Z3eP1R1uU4tTerDHg1aWsPJts4Zw7WCQpbAE87gnICGGxvmPwpOpBpm4TyPTbHzHKG9FWxnScXsETWX5hlaBNEP78lMlqEdrQQsZ4WXCUJYUbWM9fcRtqeOJQQ+OA5CE+YUwdz2axMaE2CMQnDKA2UHQ75PVH+I94z+lVybRzDS9Dr7NMvn/N2vJ9o5g/QUpT3jf82u04WnHtaQm1vEJc8IbutHQfyJDPPn9rJG+r/l9cRkwcrUcQXMz5fiAFuch3fADsZ+uuvoyVGsI7lvOgQbqrs5JMzGrxyvZDuy/Lt/Zz0C2lCvm1sTt1OcFmb1gB0E2vEh9RS6Fuq0p/MyTtlZHq/44qbrAXwqdAQpqg20B6KpLXnkK9NSnkj4bPJGmXvvvWv4PJICJ6D50TbX0iVgqtFunEH37oHES5NrHGzAFhIkGxjgD+Ubz4jhr4UE+0SPE7BEsVvl0gCOks/Ws3Z2wvI3IFxmYgFW0kwT81FTAOKTz2AmO7+PBMfJN2AN2pujkt5VgLWEWeTDjI6VAOyGN1w1E0Ksr/6Fb++mk6uS64uDFu4Z5v7B57p/8xhE1bA3jsuvUaeb6v26VhT0cXfVkp973muNUU0rvWbvCRaBZMkOWtH/Wv+SHVkJfq2+7JXf4Q92qJJzVU2SK0ZjHUGxsVjXNh80vPGsqlGBH5c9DffuXpnK4k0X+2HM7g4Xjs1e8f+3bl37XFuHHPANwGsxDI9811MjTOkTj+KCOimrb0vF21lGz28EPlGsliPnvOaEjQyjovD+WutsG4xpFPU8AU9EKtALpLfuy+IWIABnu/mGTFU4HjGyi5J8WYovgBNeca0moIX00Sw4RVysTBr1E2IwoRFL5tEAXs1wA6w9kHXKDkeECmoof8Z40TdYnb6PHOl2omjFQz3uVX4Qh/WmOvDT0z5lBqR/WTMDoN5mrx7E10QOUkKXq52j+Z4p4mjRKfET9x7JZgL27PE9BAbMDDcUXk71/MhX6z7BoaNhv2NMG1S0qAzxc9T7CTm1PIr7HUzFjx5diqeDNjpljOomu6QofUcxQR+ZTjs9axGrfNoDzWJtvu1VF5AvD6Hg3gl1jLg+1fnhN5nYOp4bbHi7IIymhmyKCJaJ8vXiUmQzWcE4hAfQPUtirCmDMaXAVyaZBYpCj4FuJyqIBAG703AeJ3U7md4HEWjhSixinVzpzOea5nE/FGbxBpk3WP3iE0PqqUAO3k7t4R8yJ8vYBVLbZpAvVlEDNraCIos5BPZw9inikokQfTJUSof6AvK0mzGrBbLiygF6peBdCeUON+12BdA/+I3adiYaDb62UZ4P6IWkoQNtzdt44kD6nRjZ1AFKDeHrgUdB1t/4TSodbSMa6pdkWw8/89vP8keUMir1jZzDPhz0krMolns2t9112skmcAGMKB8tacF6wViheQR4+soX/3ExU+CuJaad5Qji9Y/lb/+oGbBSXTRt9WqGB2RDP8u+T2Hh5emoLySJQYLYCi+3+NwhllUhEkjfgbXfsIWKQJEaKcyq5TpfgSydkqyfHUPdhFe2RQ9U+sV+/fd4EZgSqkxJImNFwbdWswX5q3MIXrhOdRSS4ZlW7wUMsPYHYcs5hw+vPlhkAx/s+07BVhowR/QZWXFTgwn1KvRIeYo+0+TNnhYx5McszJfK2A65rTG++EL0egutVYu6Rd0dM4CBo478HIFLNV7nZXGlaWToQjQr5wvsAaXRzu3733sc62jnMvbhP/bZlc/IEDNu1VcADdc30cDARpKii1KcGdMhpSKg/LoTe7Jo7bB55/26RuGUZ0c4UO0wx038pEjhrCBoSdbLPQXI6g3kHiTzbwV1dFWwoX6GGJxdNkDEZZe2YvE8qEduySOIwOO8zSPTlKeiqJZvSq26sn8qlR1UHztKE0RAmbecCbVarp/O55NNHw2TRP/ZKFtxxy+hdroHH5SCNJpLSiYiVuKzE+HLS3YDbemev2V8faydVS9BrjVZGwJO55jfaBsdkmbsBn6PkdguhqWYmULmjrHoR4l0626cPy5yMkPs6rS6boDonwzdD0wAvvjajQfTz/kUr85DxuMEqUN/kPVEpXt2P0j4TVc6o7YUDXSfTLTI3HEprUgHfX2HziJfF53R5+MPKbheMFWOwPd6aEcfnKavdbev2I7+7bk4tS7NFxBPq3MlupP1ZMofpe6/bCDMAneS62aPYa96Wr6rB554b+ztZzxSiLrOHQLfpTJLs9yiT6UzGEj/yyTezTXkS0MMKBkSOmesqAYlwnY78FrtOaXexC9xS6ohoZC3K38LUopwFCs6mzvIIlYPZyOOvuyiB0I9YVqrFxRz/4KUtEPWqPm8MkKG78xVT8R1SKgXHzsMS5duHLXYr3ZVDmPD9HxA7n/pwN4sR/viXktu0jQjwEGtQF4sl9ZYKTPkgcHfqZiXrdRIOAJhZeBJncHf8OoFijrczyuLPPhf12TduWTYKKZZS8/nbfH4Guc5jCszx2yyysCMuOL5y44Mub0o2EAcD7+RiS2hMmRL97VOJLXY6Jr28r4kSbva6WulQt93HughyB6Q7jySWERB6M/4JFCoBoMNb8GWd7mtVYoYKwstTosKXPHEMwmvU7NZ/KOQIcUUJKjqfwmD9u1gdUuudHVZ32VY+iEM/v4KdelAKCovtqXbiYp5guiUAwlR5kgAxlSygY6OtRRZzi+gTErXjUqvFhJYtEDDx2GqI8ckzpUQaDgTb/V0MVmZowj1HP4tMOeIOfbAsARLADMbD/j+UwMsIQWtrv5BkysDwkGhNEiX+jKWMt3Pc6QpxIpHKCS9Ep/npAL3mkt+V+x9SFdZfC/x0cIUUB0aRdK9rcl+APi7tv/qMWD3jnxarv046AXAAT5EjtLu58omE9/odoz7szV4/qKUKNzfVJyg3bIggnMW0OzlwFVVhuUxM+yhRwnnImMoh2+WLCK3JmkXHuJUIgAKlMkjIeegG444R+pXkjNMNTJsLAUIGb9jJJcUYlfFVzBlqwDIBRHQnOaJfr6VRYH0Uze4XtTCOX0io43kl+76vHWdSpmlyyuOBk4G+Vj+QWNoqXPmJcY0tOCEkNCA+tD3JCO5FzTDgb61XK3SXTIy3NBEyot/3m4fqRn8mZk5SR+cQAh0O7ERFlXUtPfJxhQPr9mTv3IJP4mRMAKJvhc4gaJwwu2YwmDPPDAx1DSwtFTZpNAPruKt8yTePo81OHd86XIyLyb0MPttIKE5Bm8p1ljcwwKS/EDCnReZ3y0FfxIj5cMRvmnHPemLKS2S+Nw8fNEiB33XKrLeMgdO17znhJfjAM37rtYTK3/XC8iQsiBbgcpzyQFac1MO4Oi1H/FvmmwLZWT+ufZNW8tCeDJQJR/VxSyAHjZbe13PJ1Qi8TmNuACKj7sFJfZDEHJFA/NHUZhJbfTRgb3CJeZtI6MofqEkEhCUHDBk9BDwa4iI0Ygcd/FQT9rOjimuDBV4asugeHkSW0d6SG/4XPptHmuL+jvgQIPZQyurnUxS4fzHdsxyg56ioj931befyzmkchSth7Ftg/oVTJv+G8Xrbn+T6wUO40qBMTsK41ec48sq2SS8XyQl8MM12kwIMiGpa60LVtjCZ/H/t/vLepyueH0s9JaAfa6enene0RYnJ+sgvMsFgSxBdtzmA+Fc/saxmLb9A9aP4la3oRi1ykv/tb8nhtXzYbNkej6JompnGKSsAXjeDHEF/73tVslUwPFRhq4BsYYQimGhgymktyvpZPRGviQbqxcIVbtAOFbkXR+Y9sYKMzyVF8bSg73JdQ8I2JCKOGegUXMg7oNw8mdv3ToO7++BoBejxjVPt1cPp+cP4pcaEDq9VrYhsRj+DtjMrEd3n6unh0+mnu8zAMjkkY3IwREpf05eCdqmHsslJ1MP55G5210ukyBCo66FeLFkMn9HeshqMbAqS462xUxoGBdElcVd3RarxokE6dw+SZrER8U7Osm/ra+W2s5SaGg9Q0zczlq8r5wVMGUXNOrWbUvCe0Jrdmwa8kc5JFVLX2SPFaYq2StnUMCl4G9aDGRojGLAUZi6kQi493dyaF4/nMRtiEXpkUEwOqIFBExc/j6wTU367mGsUiX8iz1HwhGCyAV2V6b2d70rkzSCOimn7wM6ri6hdSiMARdCKMDEl+vEFost0LwiUnV9JhYjuUJsEdSN6xj27RxOYke6ZUP/lIjbqtsDWPGfaGVeCGHWW7ubqBBGu1sl78CQhutBGUasqwx5k0pE7FPqLomhcn5vD2SQFCgYPyecPKysZaimfvXYtOMNLLd6eWm3HIdXLhLyWcNasnKx9Qe0l3DOO6/cQxbUd+AoQErHYlhA+LgJxEKncJwkcQ0xqIiWsNDgLBJjrHt+Onp+enjKxfElmbmcX3TB+P/Mhv6Hge84J8lgOVM07+XpgH7zlNawJcS3re18IZBfgnPi+tu2uhj9JyAAVF6rvCetntaJHjRSP+jEzA7sfOjENvKHp/GXpHLToItOUdBBsCzY7fSCYMk3X8W/l5oCoIyW5pOOTcFwyQzFBKcLTpTNmTvbNSVHzqpYcijCU0XRZDtFq5g+Wbpz2tWVoyZf6+PynpDYdQV9zHzE7eH20cgyXtm/YIB4+yq1Rl4M2lUa/cFjgh7iNgKBh9QBg5DFmj6V1VoaBecQP7veZi+9Myw2Z4ujmHbpowNdKCh014nvPzLJhrfCbUWeggOQCXW31VmZBTIPQCpVb/uCCQPR5agqvxJ3YP+esasQFVt12gqFCZPmPd153ROzOfsoIOXH84Psd29YeDMPBNJ5GyOTWuz0dDIoNswFdgnX/laLIGpeUiaH8231AuotXX0GttyVVQRrsuQBEegZXIOpYFs/aBvbab4RqrjgozCUUlv4voS6K+M8hXYj05nUsdG3gmPiw4sv6VmJeStYrOUJew5nnQv5g0rnC+NO402khV5IPCVUpd4ASpDOWNYmCy46uW6gGo3+qA3u+PoWqdRL3GyvjRLufVIEn18HeniY+wK+Lhn0EjC0HYpOwz6b4+xRJmu5uJGkaA4c+QEkk/9/ZZ4l3CBVNYYAueu+SsvtyddQHt0eukefttxloX6FV+msqQfNvyiiu6HlsaCfNuBr5JBUmncpE6amSL6CQuIr2Epw+KLy2DOUIEHO/du/56R0Pg8mlpqovCloGbAzrvLYhmS/+uVkf2Wi4KzbOfwGg+BFVOLDojyWRmqkxYmmIAcW8qFyCxw6xTKSpQKA81NyNQKp4z7Exvex8rDI9VJfimDbs7uqvnaCQh3S0Flp49B9NU2x1J8qi8n6OfeMGUAd7PqpWcWYR7HefVBZM+9ZwEkimKrmSkCgJh9f9rbbJKKllmQ8xUrj7/ix28Es1dLkyPHa3Y2Sc0ZGeWkIKzRnAARGd43hqkGHKCQ8tHU5TOKmnhC/WysffBnKdJiR+tWVumtV0GRUeEjnl4k0FRBCci6zP/ADo3RbdQ5hfPuJ5qN82wUyvQdJ+5/zHxdyOiBrXO3nqRFsSZYP4reiGozLzQnUbXqIGTj1mYpHFPoa/ykTIh7146gydT5S+yeSr0PDGRXDr4ubBvzUdFHVWJ0Qsw8D6NZvyt9iKlV8XlznULHB15X+H9wap2UZYAh6SD5KysmeVpq2QN6lWDN0a6a/vDX83SZ+hEMxi78XC6g6P+U0vAV3CEMZT4X+e9CzEl3n43QY3bipHvbdgxscYOkBbcIzPZgRCsjviItKtIq4KRsK7gs3eTee0yrOWzzvDufUEB/jSytF6+VWeQwZQTpxZkjpFCO8ublnHNGVc16Hjgev9YFK6TnJf2wFY1Fn/1ARLDd0iLAWM2q202Qlv0lTaY6GYY8sKH8dGdRwOuBpgFzT485l8FDJbjtX5F81fupUjkIFImGTCkAmJjHG1MFHvx+MLOl7ZTzY26S6hazsx5dmXDcuLLQTqLJI1Ysz2acLNhPBP/uskBdSfDmhyXA2xWyIOFPS4i0ocxok+WWjJXvSt+7tlFcqCMY9FhOT9smV54oIRoCmFrFDeV0Sr1m6XJeBWNoU+UGTmwAbjG3ImECL02rOckoCQyYONgKZv/5qAgUWlQGdb+dIkwfra+Ff8j8Y+wynl2JP0rR3mic9npje0NCPdAdXv3Yxd3Zk+POAtyFmLwbp8KfXP+pRq852JCURNcSk3dh0gexPE9JCb4RCWgR+/euqX3tCGhPzX7MrQMq3CdoohBqj64DD3+UvwsxM5bd00zb2dwPWPAMpk0Tfw53JyOZOGVLVqUNpexUmSp+rWoIGrGUFT+GSik4PNKbIV5FVpEPMZ8/nZGkh1Y/51rrW7JwJ4gQKpryb/7M+upOtmnrhAPzJKzV0RypU5c9pKSVhPOBu4GP9PeE4kFm7x87GqLq6P9neuZZzgADzgyunyFwRDHhKVie7kKDU1VTzmCBYo8lC5d6VF/ZCfnnNe9Z2zxFEyrkjHQ4JK+cXig4nU82mQin/2BoPcT7GNbvnDpdWsETg8wrMSaLoy4ySQwCtXMIPaCnItNTc6EXF4dIWGiS3KZFk3wcWgZ0RR2iIdzYk9PZ7wT6D4Xgts52nX7UdjBB7uqjC6yWL4tO+doFAlD4qAwznnxao7CHGc3EYLT29tgEJ29N1WtDWiexEbB4JEWLudhH23wxSXy7wDyj6hlI/tr5Uh1T+GfmWhkuNAxB8PWf9xRNAKY+X906J7a1rJJ+xu0iBG0VTIw7ckmzpiF2R610JoIKccTiIX2UpJPoUEbAGqC36vxMfZaGj6lUMLGLXhvldITPd93033Si87NQ97FlXnEhO+KiPr7dZ8coJzXUccAET9nPLEqzE35X9CoplPhrIF3RMyqijGdA7NX4AsUv27AOs3yj9sTnXXVlNKRN5B55GGWj17JgKfAf1FhWopYfPd0YOPgRm6Fayickh79Sfy5ygFkfwYO9gca0kigL/cdgG3EMsrtU2wChN52cu2LqB7x52caLykM9cyfpweLzPSz637xIR1FZVSDN/0B6kUiXLE2IhzmyAq2kRpnsp5Xu8sTaELAEgnnSEXqs9E9I2KVZZYy2IByipRHJAEjUMX93bxfLsiCmZQgaQt2QAFLC+CeBOSJhbRNimv/1v1sMfUcsssTsRZBfchaXFJhDYjF139Bxf3lp5ZTKgCNgbsR/xqxPTduPQm9KrLSLuJWcVN7iekVDudAnJa9s4eO+vJN1BFY34GJZf+WI/kxm1CAi5A5oH7Bowf6ayw1/CmUSl14X/D2/x4rD3FIKAaSh3U87Jj/LcAvBWhDPZY9f7Kh2c5hWFilTWRd2p7q3Shy0OHrURxRU7+suo1GCnusS2ydMwry7CWoMuEMokaScFwD3yjfUm9OZ/q7ctyEEfE2g82AdG1olHgwbZVo5nh+NxIiksGjFlglmUCFKIpCO2A34UbxWl4iVVkHCUhtZUWKGWsNa8RSpL03jsHYFQD6IlFczUThUxESEeo8/eVwnFHP3zP5cVymIGh7LZMbidL+Tkj1PIYkPUEkpxT1Fc5ggVbR/z4L1D83FLlXZScjk4PDUvV5B0TdTV1mul41PgvNcOnjs9KVkryX8meNMutEcYzK/KLxJC8KRXPXzoszDADk/8MQP39Nbg1H5iqtZA0EH6dS2QtUlHCLSXOJay4HuycLslzYmoAW05CTt6XJ9Jvve4SKXSmdBQWHoFri9hP4BKWkS8l5kzPFVFx67n3X7ThA0cVLvu1KxuOC01aqDOMTF9ZJFdULd1rn28iwWLpgOgRSR632kMiieiYg//LvkI3iCyLJKGcXH4W8jmMyW2z4FQgW/xKmLLneNRKkdE6hSk3hx1dIOPRJ6LewjL9QhhQo4+khacf8LzxQCyJG70camiJWjEt821OFgt9bO5KKzyL7dFjQ8wLhepM8G3VZ3KF+Byg0TC1+l7tFPwn18Rp2fuwS7sQ5+gSyY2IptanlYoaTURPFKpa8PfzjbKxhmuAi4MyBGPUqY09UNQeCt+76aRGexm0/u1Tamq98MzyphbQawYCrecuuCQ9d4Rz9WFDWI2e8SKUbTUDC8CX3TdvA0MxkZGTTJPQ4C52XvZA4ZDsbuOYTeVsOP1yWo4GW35Q0GiMtZlBzVSF/+D+bGHG17S0HEkDZ+tRtEvWV1WfRAw+3HfbtRfAFviTtdCWxBl0BzawXqvKcprc6ttEXcC2PJY24NLT3iZXV7hpGupugS/nd2B5t8U01uYuht2j4RQ6Ec/TPN9nyTlSTzLFmN/Cbl1K3zsNbsdKdwbeStZudG+HdwXILDH5GbXMtKxvHH1XBq+6nQbQaAtAcZNhfgNlpPlTZf983NSHshWSDbvTrre7+qv8iz3uUxCCju+SHRYhrXQDo5+aO7mFz8bRl1kDa11f0gkUKp/LRFX1xlunq/Zi+lklPNgtcVdHNsCwThe76a7LQZ7PpNA0YBAM1bUcyck8upolqqFrohOEDkU/VYWjybT1Aa/c0DFARV6VD48czVUkPT/pFS6G3ZrToawU4oAALldUVQ/4TttqtoRPXIeA7PTH+zeMQybCv6aZ+DVk2buxCNB2I0MgCh3wJYgtUNsTorKoGA+/ojNA5OxcflXEV8h4ft90foXc+2qD9qRAqTLRAOvc1tU3zovzaBpoxVByg19wn8yP8G57UFCgJTDNCD7piszCDCN//uI1QfVILCOTs7kcb2u2S48YS/3s5X7FZGBwPiAT5BYb6ay9VrpDMotzpskdUOI/DlHrzZupORj5N3bmdieDHIj9IuW6FplEeA6s1sxoGIXM5oMc4KFdR8TW+2croig1YjULw6xlc/B4W/kQygC/Ay/mGeK3cuzTNpYwkiv2F9aSjTIjnJRjDvoDQ/ksecMrVLXIN6nAN2mCrmXLKpUPyvCxwbQBQ85wDkv81+5SQXHLRzHhAeayEi39tzbieB4IBlzlTn5MgrjU/FK+0o5L4WT78fbZbspdxa+A+ajSuEixlwRBiBRkOSRLH1mWPMdaOF8DXEYNYIEiMkfcc0KSsyzNg8exAD49DX9wS0naih/6zOqEwxi+imTnXfeQuWk8A+zBd0jG5hwatRXMP0dq4LBsLKGh5ZOYMhQgcjm4XPwts0JwHp/deY9LYnD0zXpsAgmS8zaqTleq/j5YELuhCKFmHQV/5bieD4VfcTj9jIqsKPMHPF9QXzfSM20/d+96y0uQ1PtL5hkJKDnwfInMQzYs/4y9KOb+XNCQZS1+8ja144a7/8SO16M6m/msOeq0F53XL8FG0/2FLSnImYG5Whau/0Ft0q+OhlSsbB8I2w2KNvVZsMyAg6MVh194whjoqsWluTtxRpFvZMe1ov4C+/9WWyqBywAmCd91UiEyJh1W/lCiPSUYxe2Q+alxGXKRI2UPJluKg3zBrOPefEuFjS+4SVr2NgGSORSxVnpeGVHmDTfCb+zK/5vqGn/tg+I8fe9onqJnBvUkeCP7yU4+rze65gRspo9JQqFQNoFuei6ZUcJ0aVF4Tg/gxzYYHxNrBSBQ2d4ihfaTLO2CJsZKGs/CGJnFRPrP72s/Qr+N1wqNMLq58nCckDcxwgRdZp0oXGFYT+RK5y+aQXLlrUsRRnJsJhJ99aXov5xfkPTzY9RTcaXtQ7NZjVlZirlB5fk1GplhcPNVbJBnV9QfnuKSRXgPTb3C8XUPM/7JM/KI7ROnCkifXK6OcZvt0LT8gd1+xHGqIGNpR2JecR0XBvEa52dGnmmw5Vagefoiv0wT/gI7/XbPS6aI9mvdbtPATDPPyeGrWTaRpFynmBX2+hUCNkgnC6Ci5MNtYYUffyIzXL4UCWkTnadn7csJnpo3uurCWLkO5J73sb4hNXgLbJXc0S65ev/yJqROHjyz/ICP+apsKDBM1FyjxBVoDGnpXNZanAtUecfYAQ7hAuaHw1g5feT6TUGt3F4SHdnoB7urWEECFBNlbZZRt+bu+yFy+ZmG7TZpwNDEt6Y/v4YEmiXpFe0MK5V2JkuusHldJAESaYErKT33x8T8/DhnCRMaap2tC5flCqeSN6bh3+FfdkNG2n4MrEh95EaQdye4lX4I8X6Y281sOMcx4zwJrpJj/JrYSZaU3f6q5xmEuQCcOnKmvTlFjW5zYl79L8Kd3/lEfRSReRPUCdo9Y0ooMV+/EmqiehTuODysOu3Fqa0NoLOPmD9F+Fb8O2+eQj+piMh56P2qIlDB69qkz0Rmbm5bWeAKdyXQeJ5p7Nr07MNpxh9GgIDZJ9zyK/FMNCHYIu1GrhCG/JIGPmV+cZX0VrahX3DTrqSkkJ+RuY8AK+4kLRXSf2GDIMI2GTBFqPgYF8HX2oicGsVmemLwcGk0D4JCH77VGg+N8F9J6YpjKajMcDywbrg+tXdRA764XJkFeqXRwb3dhkocM9MI1LHrxsTYAh89wrP8cbpHSqEc/MvM3X8lQK1rqjG+kkCiS63LZr7LHB8GQvnwpqwzgV/7UqDr75pZlxhDwjGxliieDF4yVLAIohgXh+AHiJGXOFq/YqdRIuqwj3FA5cGo5uWop42a8xPhBXToNnp0FuDhUjPAXA+t4BWAFqt6RTGelUOFrIOggKL24/lP/qRU6ktmrjmj9/g187sQ47BYuf5ZOIS4yetXojmxVxftG/nl1hqFOLH7WobcplhWcJY0VOBEGQkWWu8W8Bd3gwix1JsFlICZLKgipSdLtwPPG1BPSimpfqOFtuiimdIYS/eS1+ChtOFrZW01LWbHDgNpHOyVHLWroYcUsFo2AO9MmBj5mj99C3kpb1ubDJq+fMClhu0/qghJONCe/TT0RdpXEvArBAtN2WPw6g0LXdUDFNKrTLV0XSTu088SH/JJCglw2zrGMrskELmw0dG/Kx122rOR8qbrseSM/kYVu5vZqY5w3HK5xllY/DWwM8/enCpogbt97N8WoQ24XjIrxe6dxbUYHPKw9Uek7jGGWVV26yCRtGaVgD6OjZKo+y5SrozKYH/kq0qpXpQrqLtv2cEiSLdRA51ptB/xvTnbeSlhOkZwsSOWgJHyxEOJjGx/9fqIM+2w9fIrOVfGhXezEWJaIDUQkeaVpNxUU8d6Gf3zYTn4mL7+1cB/Cdipx9bL7Hhn/wUtabAVgI1QrpKqQwFkgVzi7tINfbbrPuqj3yW5Zu/LEWqgg2N0qMuj0ZuogEBdkeKLXT6vva22B8fw7qP4czdBplC6wkNDtcXwUejHeUU4Ai/4id2EyfPx93s5Zp2vL6Ol0ObA9xyRaLJ68o9ijNWuAx3syQa3JTsfWItg25fGDGv6LIsgzIJCSs10dsfQsfiXQbTwA7fGOX4h29TMmlrnhfbN/AjINMM36Wt4Tj488vlHtNfTorJZA47g4Lmd+D0S6r6mR3cIhRBKglTZ4HbjxHx1reyufh1gtfajDEU/pOUjcylRxg9R94HU="/>
  <p:tag name="MEKKOXMLTAGS" val="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PICTURE"/>
  <p:tag name="MEKKO" val="MekkoChart"/>
  <p:tag name="MEKKOEXCEL6" val="False"/>
  <p:tag name="MEKKOEXCEL7" val="False"/>
  <p:tag name="MEKKOEXCEL8" val="False"/>
  <p:tag name="MEKKOXML1" val="4HooU0THZk28POP9trq+pbTvvzd/gcV8t56cq85kb3NDTsUhojRA0EsgEHHMH7oYP1SYpn09ysXVivguJdhTvfyVMsBLTGvcX7WPTor/CmXfOtOhH41qEIghVTfcT6o7+LHxt2iMj4vD/tblS6qzJ/gMcPCGrbvVDHAA21UQtxjiIUqba8bxYpIy0ufKDgD5XDCDe+RVNlFbJpcVRItRb19Hi89qJjTD9ipKC/dBBdkNW3cqqxFriNY2B7W3+bXVxpcBJ3WxE9+VOtV8Tm585I32tmAWsi3qBeXb5MtO78ZlEar+3ePvZm/eKkNj3/PmkC7+73A7e2tVVjZSW+pEyY6MjjSb/fYuKUlYdpc2J851EWCgPDEiElWg1WnTjQz/WMaup5Ox8HzXdYPaLQY02tr4lIE0usFqpPEw0kAWDWcYjok4eOt9EVw073UTlngHofjai/ToWfbOdqm9oJ+6oBsKJmgHTVcOIle7J4AIEpuHvG496en+iGEM42uyGNLEqbn/rPWm0HFHWjW0Im8qDo6T8JJ9MWVWo4V8z3dk3rdbfoA2HYq2DBgvzZkfLx9gCBRe86WwP4H9AdJdrwdxn6062SwJZOuuDM7FKpom23pQmAMT8fVEQMZ5nfNHKlsxO32tA24iC9KE2fUQHr43WCNmPQ3UrwI9v6UFRZaJjaHxr01WyN84IaIGAZGAhvotQ+cGVocnPcLjdKmDHgpA9rhuVpmOTiCpcCNFBvgcsG6Ib4ANMZsQKVZ47CYExh19qoxwWNSPo1YIIDHI4I/ASIu4EEwTMbXhFzEDEOT/VhWr8+8bc5m1iTZwyQi5V/Q0v809OEI0PpTK6Uuu9K8tNZg70ktmBWitAuifLIZ850dgWGJyZTfWMALVQrZ5+lR8M1rpcrfSIx7r9r0Ys44VTE8UZ5z9yZ09DkafpeluiUVTt4lvCS72fjk/07CCQZbw7KhJer5LbcO2JTm7+8AeLJIWFJwSuGmJhnSbw5gd0lgL3v3PtOf+wqGOqxi0mmw3xjqeVj4h/QoWtn+hs7tvBTKFZShDE0AxDgwvuiebdAdMXcoRUNmiQuj4wt0IidIqb+d+4frMlqBTVajvW0HsPpdnb770vb4xXDVM630EeVrdqW4bYdm2x0q3+b+qP9elSlWXmMac7baQq5esLVccYY2dyOezz8sY1c2eaieGhhZIjuJabUs12zoBg8lSki7lMrP1U3ni1i0Xhltvz0jYyeXyaT0U/eajGr+Om7kiWBVU8FWYalkdu3nR9AF4X52WIX0zBhqu0Hb+EAtTPmJJhaXu+SlQ2Gyydsbjiu7vEgq2pT58ItcjA7npZg0xrxNqH9W9B4vHm1vuNQ7LrUn3Fml59hn7JKZaXQ7f7RhXyN2+VqNdpe5WEnANPQ0FnZWqjkTBx2e99WUypKj5Uj9UAl/4deao8gsRReE+dZZlkStvIBYuKYzsJ/dF6AVekHviq/NWXCuKzEHYGkdNbGKoMhHmMNTBYESwwBj7QrbK93p90Pfg/uCHGzz7neKbB9o0KfF9/ZN3rIGL7JFsXZ7IhuzjXEBgZF7BeaSt3HzA9eiitSEFqA3T2a0w8SS/kilaY6BliDzvwvws8bwOaAZIYAC/uF0b/11p1J8xWKYxZMS11UdRFFVdqLE3JsVTZeTiXY7iQNBdetg+dR3gV76TI89YUcg+v3OVuVRDZ4WDRhgqPnRXNleJPUPMNdJ0/YJG17E1qWwQoIjUNzbZsSAeZ5epgbynL/bhID5s7RbEic+13zifMCGAHklvqgGzAt3+Z5Rus+UutYvG27RJ26tqW2gFF1o+GJ0JWy/T70yod0qfc8+349gm4Q5YBWiL8QregrtyxWsvdPbXqsMX+kE1TBcgcBXp2nGsRVMOvuI8XguseXS1lbzYyjr/Cy6nVg+vmnbIRstXGHiE5O+UaAi6f9RrCOb3waKOHzdRaGzIeVswut9HmOfFruTWNzHx/gOhmY475o3/ZPXrFhu2IJmXJnVMxAzg48QBbr3UcjMjV+hcxSOrRgqyTKNaCZksWkZ+gMoxJAsWRTPdr3vdvk8lZ+UKJ4alRqNRzDEfC1CvE+MznjMe6zbzQXOGUZulSITU+CMk/uYaR4UpzDyuRCpBiQfJIoiYxyDG53JEOwEVYC4GOK3vjXd0TlhLGnED+rRIb2A0d550EwrjD9MF7g+Ip8LuA9x44OsFnugBOFOlm4JUHG7483XgMEiIDPqsVrH3LjdkmzWKKS5LC2IFeorhFWzp2lM00C2Gcn/mXUd3TESSIOXOif2mbcTPgsqB1iBhTcvS/DU5uQ05wHY9vATGXht+yhxpimfdF0wyR8di4Obq/4CMyPa5t3/qdlu+0wmZcw35+6lJLPUGjqBxDbLfLKjwqn6tnzAvUz2aduEHjWGGne9HD/7hsVe2DzuFGxntUjmQ+ZIOIFdpwQ0gzV8P0JLeYGBKQKYLTOydkrR6c1DqvEaAG9gYqTA96BEcb7Yc12vOycY/cUG9ly87j9RaTC+9BeT7Y8Lv3/wQqtPK4aCiRMNxWW5pvukDVnVq7lo86pyCKpaAloY5xZ2DlavY7gVySAhwdKcNA+QxV/ATymoFMTNOyRMiqks9ED/4TqfKSop+9gEmPmqNGRLzRiGtws+dR5G1lyKbH11PtgTm0E4rvC/Tu4olOYsBAqXIktowBXk8MPXn1i4LcUvbMfUF5PT01Cr4zlNegqOzym/BlpQTEKOwajkN6gnxgqitrndz043fs8bYcwv8k4sQQG7NDdVQUNinWybpgei8DRhqnQcwbQuqVStbF21p4gl7eVKGY7/jQAxiWL6HdfC92bzZPAllpec8tKGR0YGrKwPrNbtqSUJh8i8KYed2aZ9ohoByqeqh8yFVxQdRIsPZy2B+XQivJifIB1SVJRtPE4bI4b05rL7s+MG7n44NPHQqFmabUCiHhmbynxQ2F1f0OTCzlmrA5I2fm4xmdaaWpTBu1poumoKCVtwmcdRdf+z76yoqr3/aHancvZjH9ydkoM2Od/cBfej+EiiPBW6V4kLrWERCWY5S49K5Sfm/UR4LFPodSPvAWoFh6I7JrvFC6g91H6lyXHHuoew+4HdbJXv9QPQUJ4dGKW4N0vH+kNoBFmveC6DtT00KoRneP+YzWZH1z9GH6FO9reUDDtQ0ZjW7sy2yC3C5UH9kyclY/wTLRW+8JJ4FEhAWasLMpoKfMYx773NWX5gQrQSExZttWrR/LkdnzCM8KppFTqYrPxuBC0g9MN9rWKlbSkjHXuOeOXsAOAFpF2/R68QhpSh9kkYs1fkOAsDN3ntinQMmLej1uCsuewK4UCVO2Gh4Ei9VUWMJViK7nz8kmqwtBAEhdgLk1lKsoBkFEnCXBDkIl1snY/TUqTCazxj7xuzwDtDvZwRl08/wYHXGM8b+car/jMO0yA7i/qwbp3DnXGhbBR35oSUNtkwK/V3X4+aG9z+kAgf3DKYGItU5RcqHaG2jiG9uAenjk2dm6WdEdcuIlNRchwdcJqf1IquRW6iP1HAystGukA/pkelXQr3ylipRz0KDbIhTqXGakZBYqtHbZytN4ExONTKa8cllptSued5kkZGXTHFZ0Tim6ix0WynuVR9v4/wxivIH8gJXrPBDuhyn4Pbxss0NHhMZv0D/eVcGRgfAY37Pgc+2Zq59V1Bksm6wfhc+2Biq0rh4n0cqS7UQ6onL40HUl9R86UWwhZMK7bH+1Jsj8gEYudP8dyYF0CnWhHp3eG+Pa+Pg0liy5Q0O/E3i6RDkwXpVF9TyCKOQHEB9VYOZujz5kyGSteu26464jmZm8G+5QZTEhKigrI9fjaLGr84+2PKkxqdvStxyWsS/POo4QVO7eZabm9uLre3ooplzT7OJDGs5GAvTYEHxekTBnyPQ8F9k1RLCvfJfyWGQ/wdHtDREyce5XAMgee6KPsEPVm3vFEXzjKF3khIYYab59LWx8OSr51M3Wd3BCOlvStITEyVxsxnW3T86neC83/lSW52o5/c2fcMMy1wG8xTj1Zrxi8UI8ZbQNlHBlT/REEHSevpkFEUf7XoGr3NKT8lFoA6G599Ju2A16rpOixQRFwW0YWIEwIUhDG4WI1NXNKRyYBly052UAHo6BDw7vR4H/mFH0/togVLdIldh3przPWeqAiRgtmg9nXKeTEcm+OB0mwFiiz++NhV1+i0mko6nLouh949xNvg9TNHc0rEBMkaJPGe6CLjdtpqQqjc5bF8ca/9HSv1SCaPk3XIUVhCqT/hTvnCmtuLQT5NLjZDlMJIRf6SHL7nib3QBFsFf4lhYoKG001zjxF2PxV8swEv1NwPyCBbJTnnmV3bDjeL6otCCtOoheaWWtTUbImZxW1t1qocgIj/ztuAG2Nbx+18EL7i+OEWWA104TrAq/yJiozhh0tgUv0XsbCVjfR8e0Ay/gAWhPVvBKCGcGUzS4sOmTGywciQ0dwYGzKiRjdZdCWV3W6iMN55+bXFYWII+JvxsZCreU9/PRSzyvaN8mp9JGY16dW2SciFGnG5wZZlqtQVjXSw1+yyyaa55CY9k0kdtkzCQBruXXXQ2H3CUBveWWiC8ly8qQ23TPwxvo1C1MCgp+jq5ReEJ/A3k2ThlBf3pnduWKkYNRDru8Z63SnMbvaRWtIEYHZ0Wpom2AtMYhJ+bzIjxoP350DO9T1ogZ2vbi6yEtF0b8KR1hDkZH3IepL6S/5O623GgCpJK8fKLpvPPdReoQrIZzW9cP4NfdUYoh/J8Ex2SdwTrVtzWmja0juS6g+y/yuX2dPfedYf0AXNiCSO2bvZzBMaSNKeMW8h3DjEH8NdFP/ldnX9AIz/rtp1f5oYjsiUXfbMo1WgY6RkLzTIeUqzESyyvaclscYmqD2/hZaWJSyirF6+rnYUbvQJ1A5Cb3pCk0M8/N2JA7yG7vxqorFZ032XMvBOG7Ut7IdAcF6PdhA/YC9Ak+laZVrua9CvJWddlM62OKY+pg6/vsKSOyS5rBSgZDLmsRiJjah5tAgG0gj+XyGQ53wFV5Rjjr2z0slW+yySQ628Y9lnzqWNOp5a3fD+CKIPdiS+mZv8R+Z8Iyjmftinl/ecGanHoqQfJlNsQLtjolAVzPPvCFdeKh/BPcr10P/yVq4TAfvDA4m+bK4sT/m/hwVizWEQVvxQvEm/jOhBzPNr8vU5rIYdRklinIHEQwc+tILCaJvgpdmcfpbfSiqCW95ii2VSH9J3WuvqC54hfAG2toTdC6EKIGu3jBVwHORf7VZ4H5dbI4Tn9pt2ILlzVsSaeW/iLZNC8Xz8JPanyP+xQh69BlMt+oRf2tdt8/zVrGdXJMbEQRyVRV1/3pFXRlv8J9ODQdVbe7v0Z95dfac/Iv9qYK0LRQghkS1RvbaDLfzWDFBsJP+OC3/FeczDO1XlJhQCeAwyEZ6kfAxu5QSt9tGe436T7MRuKC3l7wHeOY0qq2Rjue1L3yvbEdFYmi1y2mEnU/SKaczsOGMWI8uIfkxCLrSfD3hK2AvjVHM5tTdIIZlJkLNnshhz5mdzfy+xBrJ+4y1JnqjrmjqBml/k2JXfYYPg9D9kIwRxDSpzq4Avbdx9NMrDqYz8t9Oykv5bP1pQyv5scjXQdFfrvp8T5iSu/LCKoWvtRKLVJtc60na8ZyFcphcmG5Xz0URGfclgM6xV15fMKEMd1bFo4GOABgexspgdI4K+wAOr2qm6MMmBnkXI7Rq5RJkzOqAEyBi6PWE6j8O/UBSiVqmKDjTjxq1VTfNPrqnIFxxNGmNcDadqnfNZ2u7xEQamXsgfUxeormSvfNm14aY9xi6dYePhqShNe10j9RnWNvxA2vSVsJCW5it/pNwpicqa3qqan1hU8c9TNx14OxHqv2WImjfXTNE+w9XRkiiqT6rJZMYJfYfWhQBmcPK6Ls6XSOZS5BLCDn+CdABnD6shYv8+ElEuDSOtX9lJ2jyymUQSh4dVI7C7ZAD1lEGKhiCbRl0ns7HvQBsgGf4YVIdYJDlDxiKgf5pWv9/jRI5qkXuTjRK2tIBPRgiPxAzhi2iTpp4B0RLEyWziP5hkM71jRnRHUR1OXQYFJIfQiom13YK6xmm+l5eqcydSSkS+Vh6qUI7pvDWMHFmkj5LF41qGQwhSKv2ABca3Y1zqf/oelYJoTVmkc6MLjKDn8PsfJcbD2TanHNF0OjN+44L0YD9nVpX13wUcBZ09GWcfq+drbkqA5LeULA1UAp+kYU2r4JpWN3ZpE7PfvWP0FHQn/dAUc+D3M6f13/mowKazFM5emHd5Y3gvAW4LYBeKzhdbwuwFR+kiJiYzoBX7RAijug1qEm3kFnoDViqEI9y/+gU+gVMiuykEXLOLg1JcU5u5USsnj39khc5qxV8hN8BO5mZjPWNJi4wshKYoVgcZoN6RZFcjjmVxu8wqzVzWrhUoGIkQCIvHyCgdYo8QI043Weye6qlLn0UstwhGRfOLPx1cBBTRsEQso4eviBcrKdwYebzZfoEmRcJbZN+Eh9ApFKQk0QKp5v8lDDrVyEFyuGk9SE4YuYpJGktv9L+Jic2YdOBv+BquesDLZMvHGX2QnmZQpgjOk7MvPwv3dTPt5IJGe6xosRhXnmMe20QTsDbeMvMW6/XgBA0xHV6ocfPXi/PvbYrAmELxL0dlkzzHL/EC6mF2+8kPPlRpaQ4bnqwqUlqv4wJKTkjovZngoqHDWiSPcaR2MIx3A2huL8TmvfVQaEozhlA6oTALPDQmLTs5Ajl6c0ad7bPh75QXWuhFlSIUxhdZZwlM4r7+nQDytzu1W1C+cMvIm8gowr5h17oxGTmjFJD5XAy/zE2eO25LMJtFCvAKepthgaD0tnNBh6wN4d3KuTR4mC25AAJJeSu/kqTUJ/H1wSmz/uQ7+Xa2E9wPZVyWcQK2afGD+X5Y9tsoliQXi+Uv20fZlafyvSlMqI6dIdVQhGFS/oSsWP4H580nvjXIvB2SQsOJxf0oPPVzWoBgKDvG2sf1uRn9oyD7U9oTAp1AkaL28shYYGKBPetADaxsJCAAY2o+8VsZ1YFq+yA0CNgKzaa8zDKR0h+jzZAF24KyCRjQSixlwJlAJCaqgD+9JeFrl13+OzrcEz3C4ze7JKv2mCvtvYHx8zcwl1bNSxw2Ky3FvQqlC8lPviL2K5IoquPzfuxwtmcCU9Sq/Y5iojv+f0W8eoSLOkJA9Ss5J0Ko14e1J01zm0Mda4+STmyz6riTMAsURPZiHQ1Q9za0QPtuytcbDk2I394Uk77SsagxmFGI8O8mnuxK8MbHGoO6fnE5emrjPZsFLbVUF5/uMKShs9UwD8juoFyzB0KkrNanOoflmNqIULxLaRbc2PuoXP2ltjd4i+qdA8mT18EtNia/xaXmZQbCkpUR9ajSk3YUPiOEE3R9ye1fyuIPRUuVPhmn4D51GJVTb5y6PNEvX8yichHbdUyuHINPbVbw2PIxawPMuoUDJvogFY/vxXuX68rJZzdPC2eJhTibBM4GPMWl41YX7OuSX+ndwKTrT/kOAcESMUm3D/dsf9v4WfEKCjHlrsd3EYlN2RVKOfuryszWPbeaHGM3Qgy80UyBNv1imroIsW9J6tJ1ufsnOw6n4rhgNjGyVbFYjZXCHY22wMsdK2M93Creu8RtDyRCXJzIZyI5pTPz8KX2zN1YVkSx7qNBfKF3pd13HWucP/LlQyKNyy7TEL7SJpUbsdsdXglsJeTGbRh8PHC4yCrsEsFJpLqrLh60xVdoAjJO+LerubXDo/jS2nB8oIuMESesziUCJGBIbLwyXyDNKBh8lC1/WvVApCUeW1qXxOnEz/gM2Jl41ZYoKvSjEFWYv3bnz8CM413HTNN5tvdkc6k1X8ymlM1zQPRdcskS6zoiib2+URLHX0hjexj1I8BAAGRBI4pGeshYQexjOewgBrVydrR1GN2RTgQG6QFmqC3GdfnBQ3irEyid3fHeB8e+1amzUkrBv4pswFadVCCVJ28hgxrrZRqXoZkSvakT0k+2PO2YbLcGcbjNR4F7VvhH5boL+iRv2fIC1GFRW0N65ax8spUodGikOvIcnxD1pcj7EYYyyGnHlJwBi6EolaOEy7nLTgm34/Yfono3DAPNSLfwDKonYpQggcf0Ux9IqduDIqXOz8oVwONOU13NTQgGtEOKCevJDlyIUwQxOscXXo4B9u38rwurdCFz96cKKb9hCjthlcfFoBTFp6QkEvFqwdFj2IPoaZcX538TTRynBH4YxYjnzk9Zlq23Y/j1hWdmTMaayfVvgkabLSGQ3PlGihchU4XqXA24uvYdLlyGtrI+RfhujOp5NzkmUr/yzyJY/IBx7NWETUaf0TFu6udnfBBgIQqfNFr0FT23yWMngEs3GoNHSV+uKCd94rSAkcxZStKN8vXk5m0UO7w3X/06xzBX7FIli79JxYKrX2Ul48SXwI+S93b7jKQzeDeyfEH9fp+T2ZSHtaYOpsRbUiyDhQctq86jUbpsYHvjGcOnHbvj5D2CxmuwwCA7DlqGzIrvguJ3THkDDYy8rD7DvSAbdUenCJIcHlat7+C5srSaU67Njg1G9prB132+jubSGdS0s5oH2JgMX2bqLnmR6l+GW/aCDjRW4WIH1NfvNRUei+ncGArswRnCOe2x/sZ1tWw9Vy/NrvaA0JDmTXZnByaOjyKPZ27ROUifBTeP/nampA36yKKJoS2/q3bMQWo7hahpLlaCJXMvUYkk04YWKJBCkM4PIfEMJOlEO8jb6UubFO8MY/QvsPZKyppb5Tw9wSapdxxewbD5zVrYeI6rT6D5w1+XBpV0z9iOcynXGk/fNphm6EVLCz0R9CaDsS6MrCeDlTTnR1gChhYdTtzjijd8Vc8sJVKE07NTzShHUXOaqE62d0BgcvbQsG+3ZWIdOJLB37byhcuu3Ub5MvRO7VdyuJy474MG7zoCa6XTC8PrMTde5p2RwWIqP4GOG0sE2PrOPOFq3R8rOTPZQrsl4AY4OfOnKEzQ3qF9BYJcjBNN4lzyXRPrPuU3H8LyQsXj23RyYa3/QhUr0rcsoZHNPAW9Z2pQDkeoHO3eCDEg+r0q0/uo7fY6/L6+cv3Y4mpuhkVG/AbmGY0R/Cw2SxUiX41rC7lzwdv21aOTAUd2BB1ASryfizum01q6IZLHI34GsPPmA5CJJ27n+g7W32NFFLu7bHjN8jhujFJoY6cBxoo/Dr+hkauxJhsTFraInZPl0U3KnfvmtEDPEKjrOl9WhFDv1i3vZdXFiAh07tevOT2RQa4BFz5i0Q1Ad6P8SxdYFOMj7poJdR0Vd8/FpA8jK+ybF+rnMrfsRI2MLPHWWXUkdrk5c0IYFR6yMPnkhw7wZfGsdTtusp0ORbWlJkR9FM4XWFYeIjTJbLOtp9nvQSWwDNB2eIw+zb/OBfDrycYHBzSgGCN3FVUHIw9W9PblmBZnLG6RBbcTw87BQL+FI4RDDvKELZhhCB48e6foVpx3ZHK+QX88SwttAOozKZAW1HNMHMJN106SwOX8XL/0cD4vgCl08WaRCmeWSY0LPDR3FreO+B6eVrHROEb8O2eGWyvmJFnlw8PD9Q0oCKHeaOMGSuc/O0Jn1ntgu0/5wYhrPBl6gehAqkiNBhA4T5v63QD/aw75vl3VZtCzEMCA4sUhgJaVyaDYx2G0LQEb5mCylT//zvyReMxK77nyHIt1DWby3MCxDQW+CZcc2cKfkPxfkUdc4PABAdYwG/IZ5GiWrucbjwkMkqplYGaN6yDoNSTdBVHY55IvpW1+Yn+Hla2kj8Llx/yIeU1sVHc1njTj6rLH6vwSZQfsRK/HPI9CA0rXYKAjsBCBUa/NSA3AH0DGyCmQZBPgcqY5TEJik914ZdGpbFAhlaIEgnopCBSIkLvFUdY4YzI4BP+4vokavJuSc2OXYr2pyQAW6ELp9Bf6mPx8y/K2FztYEiw9H1oJsglcFCNLWkRixNRU2XNrC6vl2b6TpSaQE7AraVZ+hJ0truR4YwxBgZslfy0UbqdadaiQ3yVlwJJjI57a3MeXlceNAt9kVAJwjJd2UPI5Ri7gaajfOFosCgLfaye2NIQOZUED8xVXidI9n3aZcZcOfkO3k/zYeU6C6KWD+poVGpeNojpswO7t+v/krITI+D++gwF5mJqEiU3xk0CaSeWdm1zgyy20VJHqbztkJFcmo84rwVprlSlIWTnklh2uJ4bs6Sxv3InW6wH0qd6cJQAA0vwkdbBziw/mK7Qk2RtjFN2ptSm3KhDw2xMRB3mBX3CoggKz/pWFVZ4qTrIJj7Smd2B65n8PtukNBhJPPykwU0ZTEU0wkLFhXUoGjxGhfVvRUJ1l9Ml4eGrvECNkJ1YV4e2Nja108Z8Tc/WYjiHQC5wI0Q2ZqPlTZC5CopRZWKsGFmENJNL6xq9T9Z7DjXwOBfl6ZIhJymcBAe8QdzrU4mUBfn/OHZKf2cWvRNhOTSNH8Ft6oveaV6Bl2vFsDb0KmXjmDqybQC9hi8JmNxPyDxZaEBwwChEaJh7J12bwwpByiEK0IIHsE31PGIEwk4ji4M0il5hH8/hRDX0d9pPeqj+QvIm2EY7UJdamJelfkXULZEpHRJxQbgUqewdRRpakhBiZcTWIxMoZM4NVeSjHSTHEhf+vdV2wLWR3c5+NfTFnRqwOfgP88n4Ersbhpa9mU7qDCTjhMx+sx+NdifgKpyxvyFwLHYAoSYV8yAdaFL2hhuuSRaa1P2pRQoJUo8U9wuPO2gUFwCnxsitO62PfjDnOiCbYv9EXsZgMgwRmwIYl7a4zM+zB4HjjN1V72gsM7doHkxuuzqgEBVM+hmGcVkq52oXwZHyie/80bjHDhESA3FK4oLf4IQYPdmX908Eorj4hwwVX40xZFXFSWWsu4MsvJHPn3TWCKm5DvIoIsi/p2b6eTxyV+tyF+LyWPXa2VqOjxbu668Sljv8TbffEXrb/JCzsEumHunhcqE0h7ebhlIa6q41gBTswoPyJE7lWBzn9VEhj7JhkFSG3qJUyJ7mNPRWxrFCLzIDlEBkn7oTXwGpeiOLQXtUS400G5wr8h1DO+NMYRSGGH5UV5mvmnRd08F3SqFAiQv2SbMRFyVk2+zE1Pf1HTofVNvFtxHgiXW3uYk/AzcrlWjOzMAdcN3IT+jOoEzpa2DpgkYOgatEHL67VJpk914+YYdMdfSojBi4mhX05PUPHJWMKEpAmUFkyQhVbM+bs4lavo1FZib4/V2hzlvaO4yWj80YmvU00fw1N3n7V6H0GDNVQ2AdT0oULf6zLqf2snUwhzBJySrBXiVTrjCAMrZYu+Ja+8RHDUZ86Y0qDbqNnwILFcGx795xXdaKde6KDTwLCBWC4pLzaJYZZWt19eNVaNgUDKECEVU+By+FszFjyfPSqDICv5gCrOsyc81pPmK2kYIIcxyEtYW5WxCU/qmXW7hAVEWrsC46Ha0y5NR3PwlkXZm0ztardvFfF9B8oHfxQrQByuKwiRIM97sZJ1elcaNr5AZymZAbzk++oGhrGH+/6IsD1Edw4rDFg0h1tqfb8oZ+0qXEIdrQU0qgeTz3w6AGt4nzUAwk2MgJnuc7j4LB8vFQOU17BptTPMZV7Ft8OwJzBu7oBbGwFn6ExUCNYZZ53+oEQ7U6qC9BBqiDMLwisvoKNNGV7QVmGG+AehysSnQLejDEeoaTgb6V9m1+hkpQjLnPTIhZiZT3WTzzRPSLVZTgVhMPfpOkc+rfihJ8edaEzpO93RR8SzduxbA8tniIEnZkQ8Qchm4v7bKW9uY+/iNH+RE0vYUBB/LMcGZxWJIdbBEj+pHbaZxxTghG8wd4G682gW3gTxSIwgB+5Mlgv+0B3C6C6PehfjW7z1HEwwiq/QM4PGbLQ+VkVyCgwS24sNGq7tLgkI3bKNDmSx9KgseCLEE1GfvNNrii0NmLi1YT6PhItPojhJz2lZNuaghaMDCnM11eZ2R1B2CvelXr+JYiZoUlRidUJEAf0L9+gZMbDjfzfw8lfaUgMsi5ewmNu2gsBIiAUIrg6iz7bw5u1Xkiu4PhZ5aubBtweC/fuaK2Yg+0YTDYKIWaun5NkJ/Y7l3iI1bvkhQP26ODUAqMTAZ1ZwmSYsWKIy+bk2mHNGqS35cPl3QhbHy7Uzzi9RD4gACBEVcOOZlxZFxtaH12QBbEskXyUWCFBXn2X1N11t9Drz6EQdRs254BkFhGqXwXLMfMjZVtJGUQrrLgKv5jLhfqxspgDerwWL7fk1s26a+iMR8bmz6gMigdqCbsld/xHahc/dVoPxW2qinSFKIVzHZUXncKYyZUyecfVdYPs3mCs0SPlRopC0udp0AqpCDa/Qdw3l8ZP74s0vsTw0miDByI4bqoN7UJ6Q982NBPWv/i9umABHgydWLREzdcY9jDTunSxk8ohP5m0xDKZEWtsE5cQC6sCVtpGx2zx2vdz35mGeMXmU3+EbNENczIV44WnXhJ3oSRUTPH34DjHdiF5MkHiy9TIX6hOnwaXdO3d7AzLIuMxIhrZa2tNu+ReC3GaUoxuaVcneV3rMoUYjo1+i7fceBfBC4q367AdN2QR5QCmJRwKCE0aJzMIT3EXerv3v6ndV0jG8FTUNMvlHZOu8N9wIM6oQ6pmIHsvVIUefbO77E5Ij/nQKAPlxsszT0PKp+xW5jGQbsQr4d6d0N2p71uNwysZekDHtA0vXUzEDwTB63V2Yf8L43x1y9XPSAbiGxCKaG2m85cocKmhILjhr3OgAbDOLKxP7/PUvYdW1ZF0n0YwgbrHFU0sEJoU7oyP5+07Zw2vgHQ4na6BqvHcwW5ghm8GM93HbWR+PrBLGETYAQBrNIZMIfz1PcmR6Mw3C3Vrcldz/j5ZPj0tqcUvfENgv+FmSdVjzqHdi2h4ct28cKgx1rZBlwfwWSVxaYYMAhOQGNZpLlK9HXw6146WvKovRxpcZT2386sPKweunNxf+qCcE1dM2EAy/sQJbjIAT52fgw84/s3PerjZxl53Rz8Gvq4mkWpKIEQ4LkelZOD+QSLDSNWGIGxsodcWccoxVreXMo85gLT2OOvF1Z7QUj6oAOi7z09R/9FOIuYsKALrIwLIlKuQ419904IKGIjSpJ7wANQ30zz0mnTGoa6SsCD+qPmw4raQaCUucHFHbYD2fTFZARmQjFzpECY/VnPQQiAsOj7xWH9v5xj+J98EnK9Hs+5B24Pi6CppQAZ4CMIPNman2fOMen8EBsMDyBT0uoFhwu5tiW01s29Rcr7m1KsQVptELVSSMvMzXLKAZvWLS34q3YOASCg4SfkfgIacHOp292MB+LOWUxbF4v6pHmte3QpumsnkXmXtITKuyfJo6C95Wqv3vpSw5Pksb48ByiXDIl0RxCisYTFGAycejfMA0zGGnmM+htu2NGOWpmLrh1rOPO9bgka4zjy2NMAWPppthPmaqp1KIlvrpXittztPYkRtRCxD/6N8BXUCq6WwiFdPFt6sz1Hz/8d1+6jQpbfuJrZy6WYd3AvMLakSR8DVZX+SLL01EAfT3r1Fkg2SqjFbT7fFliooZgn87a2tyBemWu/Z858Zk5zdsdhMQtLF8bYCvU2/xbYld7QMYfxV5zf2l4nJWOFG2L+dtJKatz5SCIn+N9RVRq1PhqSuWxlsM3yLzt6y6akhmjc55BwoFeoSuHmeL054/8/SGiIawkysxt8jyJENh6PWbzfmROqC/k/Fw4fGhjbP3F9Q71ptCNF8GKu0Fv1xXo551nW4u1j2mVNrWywRMxbAKU/elFyJJvR0W7UhavuRbsK2qtfcA5fmKSbofNI9p/iyhLr6eL4kp3HduAumT0CsRyjcqgEVw+vlZTd4G5XD2nAgXa3e/XHn2qq+AcaCtPGgA3jw09yZ3PKRn6458RMrgB0GcZb+2uI8CN8lT6+s1+neoFoRFylm1KClmSKfKngj4TJS9RIUPDQe4N3qp03i3kbka9JdCcOwMCbrVricc+3r34VyJMLrFRsN5DC5RRjykJoqQX4qmWR890qWOMQmwYK7HLbkNmHtZ7HfBsOZl6iN2QYiii1lEhHNEUST7jRlciUShc6cJSinaTgFGkLll+D3LkPHDgmQb3ygQ5B8JsdnaHTatGG1U+kpnf5h1j9a8zdvxiK9MHUTTGK04CifjMaQV+kQ+piWvE4xAhdNY+vckxzm8/zjsd8MDgphHIsFlNRylyyPJqVOLljKrMUJxxamsSMecfvBWHuegcNAzKW2+ToQ5ppYvUv4mpZ2/MW5ag/DCwwuCdXFIw2PZy9PGtcw1cfseNH9hdyWE6uFCdENQfGn/Sluaa9w/XDEsMZGktbhLhjTR+5QjIhQsdLPoXrX3+I/roHFQlIIqeUDWscs7854bwEe2pW10mzOhg4Tm0rA8ZwfXa5OwMwItFGfr1prvpJz7MMh8NQvOrgVQ7AiiUtBaH4kOKmoxEA5YJ72ameMxu4FBPF0x4C3N/9KReWjod0GBSXDgV49/uT9Rq/faLejFOLJj5KBUTLELM1qK5dRR5vwp2ld3S5n1qKDETJaW8+lpC2JOOi6SqlyR9941sf/cfTbp2kcwr3s8M2RJ1gJUL6RneCDHzY1gHmk6MxwUrHxmwH6XzKJIb3X1OdLFPAtX3a8ljitOGR2AAOrBi8TVvyP23oKzjO+cwKeR+JGZSwfqoZy2WbgfntZJhrssDnWKvTlAU+jVG604fKtk7jYN7S2TfIhwqAvCGxieInu173zPw8kmTygLl0k2dbdLQ55JEvhFftixGyQLUXleahH587LwCq6SRReEGcN/yjYN9cTmA6Jpk4l4cs/AAA3uvU1iHaIajUDgVdikK4lYh+XXqHMivMY1/BP45vQllbdSEfwpY1ukHjEVbWwzzTfZ/jtk6QyRKN2d4LCmcMm4M8f6tf9ETSEFqZx4nDUPnbIS/G97Rnxi0oL7Vk5prHrYrL3FR+PVS8vrlfEaXvPvjMkVlJUtafkUp0kYJ3x43aSS0KYl092KaOSQAmNP4gv9wla3NXE2PCqEt4VuaBoNUE+7dYkxfNQozmiyf7teEjaxitgRgzyqLPrVd9F1eeWwCVDtCjP2MvSV2iJ6fxAEuGy0w/BIN2sWywFfwtBZOEfzcpydSEGE8ova5YS1wFTEZtixbd2/IpcegkfNKw2nmEKJCUUUO2SlS+kpUBL65dvJ7sAKriQYfedpBJQQnkSeN0TqSH5TIwEyLMq1uaiS6uvQXYYP/UtRdMJVk0En7yElXA5xnvDfLapA1C7yPH+ekJjmGKTaJ+jBGL2jovpk82fZORWXJsfK0O098vhdo7yOuCW50qQxchfd/V+WNfR9ULvlHjSzyYtiz/ujAZQSoVrv8cgQZF/4lFM61uZKm58olk9uWuok8p+ya0CIq3njYJ3L3JBGkJcAYeZxcwNID+uFfeNLdzcawGh1qZeNlkSD12AO6nOWZ7tJldMdWMjAtsQ5NaWBaVCYOrVyC3VrG1VQlq75mkbWVnenM2nBfpGl4lirmEhDJaskGGbJwknQmJCqNjfz8vAwrIYSz75pG7dkB/96wrdOF+5ttLJ0tudnBo17I0rN6w3d9kGbIdS4UvC1ooj/+5/EFeZQnxRAmtbaif30szLZWajioKZGM0T62+pKdSkvQyFJCJ68HZISREv9urnYKetjgaEe84GGfv6qVshFbdCO88ZahxoT33eTsxXh9dl+uv7FbDbTi4Yhg+8PNIBT6nvHsAFB4yL/D7+oK56y5hRHBD5rTbQJ8hjduFPDLjHVnB3/QtCFbB6FAD4XHIF2FU9lPa3HOoEXOEcUbwkeQ1a6XE/HKgvvXRc/BS84BZN9u2vO5NexU+PeCR9DaL2/zr1wATR+3tjh3yY5Mc/4cEMOwsWnUZjErYMHHujNeIJXdQJjDpG1GQ/gLw4eXUNLeGSO5Zgz8LOPmZW1e5fYjMS0KDmjQlaa76J+iQ791AfeIgj9gR0FRsXpoO8vEP8TUvWZDwG54nzYy+gGfKqYqMlmnz5sBAfEGHmcoQRN66CrpMe1AvlUIzJif1Uj2Ynh2wiCJkcjD12xk9T9SaTbN9vd9Wa3atSOLPHn4F9Xg2Eri6TnsYC+j1HcqJNM7vGNO2E8OJnuxEV2RlPsKVedZicySgEgxwOnvBHpOlSYhuwLW1HJNEqtQ3YARoQRrKDYS2OYFnZSjNO97dpp+Z7+BFlLBw9qht/u92uHnLwlTxbXII7yrdpqzKsrPCe3vtI0uxxTkdPJeKUpOfxtQxUchf+aIQBSRaxLKjqQdhEiuQHLjUHuRo8iZ9Uq+mc0vkP8mweS1qecf2lcnSsWRy6wazJFzvu5M/hfq+GJC0UAnQFaj6Yqx7Ps0fpRMRruioUp9WWr9yn5DpBL8xNBqG0jBdr1C4wkrVgop4tn4LBAB1TNNwiw4SO7guAA3fmOTXGC/jWUBcVoXwVx1x9cgOFkQe3vSsodZ1fXyxuRvs9e7pQMt11KiCatt2FewbKqgMiZa0E67xfEzZJ9IiowBU1IxCh4uPCcCfOqyHilXHJsmckDG6dZEN6i9zNrmS5NhTC68pGN6wl8xDb9g0ljmYABjlGErdw8I97a9k8lZeSFz3iqyGAkW1RIj/o8yYTXX0/lqUcLyYXoDsd+PLfdmQIN5hfSOhw70faMx73qNKSzGirogv96cIxPlcbQgvoe2HrMHNQn+wFzt4sNSC1FAgXBG/Y+rqfXhEByxHHGUXowvoqnU94b/UomGVxy/BBtbEGB6Sj+/JRWok49xF/zOsUkYinp7pwGqhYplyb+wNe82rJZmy3gzFL4ylStCKSTIBhIMNaMPdfI2ANmwcE="/>
  <p:tag name="MEKKOXMLTAGS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PICTURE"/>
  <p:tag name="MEKKO" val="MekkoChart"/>
  <p:tag name="MEKKOEXCEL6" val="False"/>
  <p:tag name="MEKKOEXCEL7" val="False"/>
  <p:tag name="MEKKOEXCEL8" val="False"/>
  <p:tag name="MEKKOXML1" val="4HooU0THZk28POP9trq+pbTvvzd/gcV8t56cq85kb3NDTsUhojRA0EsgEHHMH7oYP1SYpn09ysXVivguJdhTvfyVMsBLTGvcX7WPTor/CmXfOtOhH41qEIghVTfcT6o7+LHxt2iMj4vD/tblS6qzJ/OHdSMGn80SAkSMQY+vPsTFBOXVu41tbu8+6L0VwS+f0YXQsvhOkAyC9Q3nWduexXP1SnER2NIGshevehlmtKd+FtrOgnYeeOJm2Vh5Ae+y+xKhASf/IvnVfgtmbX2MyuTiuvk7voq6Rh2cOkR96QxxeK5kgawCNtUErPBqWVpcRxY69QRqLYD0d/R3mcrF5ZRvjT9yV41bhvRjGKBaSy/m+yRT4frjCaxVaNKsjR/f1Ci1c8I//o14A6hkV/Ahy9HetNYWo059XhLhcsACwOVpCafS/IFD0uR0vAWLFyIUM6aAEu7CFhzTxULFIFHBcUkvz/C3WJ3lqHf5xkf5MvIrgCRY/QZC59BgzxwSxpecveb4Z7fyu70GTl803C8LKOyGneG8SAGpfUeG8WTp+d5apno3MIPTLE7KMQ9EsFFjSSMgMzKZME3yGQWBjFFq+K5RQO6jgOfolyWl07nDmyPLnzZXkljID715DP1QkKVGGBxtAPcMvXCINYfbJaxiZEuEmvozCcM+D78yCW1oGrDvzcCoi/iKNKwlNfiJrGiP2Wkv8vRA20li1rE20I55J6N+kzaqG/T4Tqbg7pBP1qvbkKy6QcLMq7p+Im/jISfubdkIrbLvoCnBp2UU8d18ME9B36SAu/nBq7uLY/5WAtn5fOEP5e1NXucBNp3eII85w+hQX2UDUVEhzDGT8Dykg1WTRgGSonSfZFQ1s3tfjsnmTz67295UGft4nhjFAAH+NCJj4gy+/o6Y1OuT07EDztA5Aa/KAfIeGjR0rj2KaXGj1gV/5e8bB5XkstaeOfZFMIZkWetP+FEoKHtHAfcRBO3Zze+canBqeIerfztf4hWZrWGaq0dnUJdSjcF+uuo9A5kHwK5FbbbIFEEYDTFaSxO89KA5YMKvwayObowmaY/RpVT7B/iiDfq2AUIrTlClahO01GFYawQj6vFBpSCYh+7CxHoa3pcm8UsH9hpdRx/A8RvFfWka6qQdWUjB/xIqy0wZFHzGLyeo5MKXRkblAUB9vFYt8xJ9BGEuAfgXHA7yvyWWamuFPhFCfctvBK6SnZSNh8ZOzzq6EDJco9UMX8Nyh3/b7CpYv43d/61qk0bm8DyV0nwxiGoe1m8DqKJneHRshFE7a26MWfy59pNOOGpjmxmTy4J0aJXWB4JlDfyEsQHvlAVArG9Rma9aSumVdSO97cL49ZBIlg7qQwcvhS0A4xDnAZapCfUJl+rRfxvvgSsI89Vbzo+Jv9A6R03uyG5VF0esZKY/FsXryYJwDGSQOVzkfhA0x6vOcysI8Z92jJwcdL2SUiGXPJPX0KDxCPU5kWTcszGXuycqMA/MA6Ao1n7/xR4r1m1K/5EbmPcr69mWePM944zsqps0T8WJcDT3SXnZZdZ3c6sZSv/9aQOP8HSN70+6Ubmt2FW8tmMlUw3URz67VKGgDOHFn9jgUh3bjVzDPua5wgfmv1/wAxrEG04V8F8MekjpA6GrXem3lkIfNSPzDzv2h6/OhhYYxLkXasxYMtuR2ARs8TOGXoRS1fs1dsXx1TsFdcx+RMwA8RhIGl56hpfhSQBERaK64Yapg7qOS/I9KL8WgVOsCSJ9Ty8PzeJfhG3EnI1HruQqHdXTJRPaaW7d3n0DtMuDh0ksG3gydSN+Fhc6JDFfd/Quoet/UEPtmqK1UhTG9HGSZPMAX3TIkivL+uUoh0fLor+dr+RBkN3tufL9O/uVklR75NaubomtyyZuKufQATwCmFdXpRKpvBFtpiXkkpAkgEK6d49aXDOQCWyzn+Tm87bT/lRPke29bvs3ez8LdR7vRxtzusDypJGdLO+HyEOHQ8AuPXFEPB+gTQUE4+OB9ZtbSu1jch5eY4M9ujzpBjLbtjficSQt4eTO1S0P/NExBEU9XcQRJ9xeceVnlXQri6fs/OKIuDA2rnjKnj3YYcOCpCB558CDG2iR2b3FPnBUVZ81hcVPnqTX8ALlNkpYisoSojqqtflBNErOVSgfFzNqbP2QJpjrDBBPX83szdMi0bznSSN0epFnfsZuE+avdj1985C3WoCK/ZqoYow8uYtLlByo6Xnj4EsJ0vNfo3lH0byniQzVU1xzMEDg2t+dps2zXCKOn5m4fOAVLW8SdnoByz6/nkqLPi6YRr3hSaHaCyTky5714LaMg8X8CL5QwTFYhRSJ7g5xpFwSErQ5C8rOv1mKUedUBunBYaTFwLVhkjPzPnOH3jvTe3BnrzJulW7sbtA5lfyVAQi0k2FcwAa1LJFivit+DYukqhLxKViitRbB/dGzlIbiz/rMtB5KPuICao3wPu4eq9BLNVzdZe1LqNvx6qYYXwF+MTZ7fB5qWG6u2ypCfstFovyCvPTzDd80q51QktaV2pjBDaAIpmDVohfoTo7j4oc4rSM8CpN1tV3GM/SQTFHoomzFaMc4susYmnsGlr5ezmfolvx4ckGpGPjSYBBKSmF12nMYtYTvaVdPrzO9MldfSH9PYYQZDU+fByb6ZlPNA/5DSaL8Lq0aLNA9YBOgaK42aWg4wFNz4AAH41JmiUWpvNeU9olphMhsNy4CulzETERD/Hs8R0SMp+T8+lRYWxA3Z3z3boj42Dxr/93KZWbXERd64/NTgbCKqBpKoTPDNFBkSDzYwa7wW9YHZSH1PlHAxzCBMKw4gED47CL9hC26OwUJG+IdMQ129qSJ71OkWxtbQf2cuwH/WplYXPvII9f/UXecT9JYQO26dzNbyr8vfjmGalrVPoZwBWiokCDdA3mKdb0WzLYTLzTGKMdCsB9EyE4kUf6z4wD5rYGle55yTNtJuKDdLJTqwi3aSImP/wcO+DM1VemTye/fp3PeDwnEDHsgfYJd7QFIFEBXIZRYj9T2vecLB1H1+1PZzDCuAXlRjag5o7aOxEoJxjydiqsBS0hASbpyItjro+xO5M5kXwxsHr+esJt1faapET9bEin9ZB5nutGCYQUPldafKbD1a+kr0OUYJ5vFRksyGqxsOnDmRS4DPIkN6cD41sceEsc//sj/L5EPw8YDjcm5qbIJieANSrxe7XIcMTT0ZnDNi5HfbgygiztA/7lWMmFVO8FzinbZkW/VeysXcHKJYcYm9MG6RbnCds/QQZHvPKLRpSOH1SqbwYghyES4CYQQ54temXhmCfgLCaiNomkuToWL7VPt2nJbwCkLAGAViKkTrZQwHFR1uqaWfxzCtpurLw5RwdHHUKmdLLKLEvNGSFI097U4D1Hp1IruR7BxPV/arm0/hMoQ3HPksmr5+jQ3oGcgyCUI9/VIDV5rXIkEfc5HXkiB3FNxi8M3V99uaf9CbswhhvW6n7vVL0peNenohyZRVUtIy08oCe8qAWIUoqnrO1B/tN8Tb9dABfRxmQ1KKUSiaTDox6Ej40/2plhDhiaosRXhoOwAah9bPMm13EjVxrVkN1mP6s48JbY8ZykWKxpdB32dEr6Wm6JmIAp111LQwHwZ1vKn3HGdEA5kDGPHn3rAz0TVvoN3QytGMn1r7+aR7hxtOjyeeWk4KTIuJmWNYvc6V9/MfXgv6QxIVLDIJw63VKmhxdgXu9Gr0HcU/FuwTXO5VLwsC/UtTan81Q8GQ/wX1YqovGytUK3IrpTDOsAv7hByNdsgLEWn/+mbVIIO3fTWEC0+X5Ht85NR34DIMHztHSbWxGxTu0zcD0+EoDcpA3rs2ITo4bMvx0hpHd9uspnDfT4VCsyqO+8dlr0vyos4kOnkiXJnsqjIlWgTAV8QDthZHJdvNDyZFNpScsy8xWnUtjBOdwuXeizzf6ZJpQjPdd7O7rUUsR0T61KhLKc0EewM/KZ9X4LP7Bf3H+hWwycChseOn9Ewm5X6be/iCclNgueBNRWANmQX+oUbChfV5sD4gdDfAaPyQxxAcX83M+4oWaxFJXCJlzvRBefQ0M258KagLy3+CvR5X7q4Zj943gH28D2kmkmwnAxnTon/z+ij8isWF4ynSnlC1OlJCp/qdMVeFqKGD2Lxq3d2wvFirL20+U9okfm4qddTLPAvw3HYUejJfSLjDqewV7WMljJSFiwT6+s+wsZYlSe7BIuqE+vHFKNJEPX5LpI7XqR7mV0SIw4BO4E2Zp0EwerMvmFk83oElxg6IQpV2S9FXHFkPHOmXolHD6UsY8mj4xbS7jaOv8b/u9ElS/LCmaq6FUUr/ejE4GdYD6GJKrNUvFgvIzly2kbk1U1WTANfKN2xV0BLVRNRi+OZKBjSiM0XvFVueF9kc3F2F5eAtVGkazNGZHOrnj60U/rgxgBZJpGvvpiUjUNKZpopbzj7oekfr8h3kGXSGEYXuaAoWlAyd9NwXas5f4HXMN9b+Vs/vEvylzBpqQznkXnlWh7RVPP/kYdMNomWqebKYrRFycB0PCtxVcRQ3D3e44PaLku+Mu7uscVBxy9Aaz+8nhA5KcSctKnu3P2NP/Hz2DGwPkupiX//ChOv1hfkh1OCiZXSSN7CJRpXuv1TeHMZkG7TUCKvARuZto9DQKimtDDvRwJiYLxTglQvqPUz2oyBZ8UVYEcDz4BLOiHrHLP1TegxbF8y1twgJvVlZE3erxkXDb8vibdp4ghQv0bLjIEh1aFqV6KlWngnU1chghOChp/RD0zSYynzP3vhFDso007k525nFfr+h1wP90s/theWsk8KBxOLS7BI2ncWiGJxWISlxbP/e2jnktvzsVzQ4HywemxTPoBLbRiujpCDYj5mHODxNIsGcwCwrOWc6egj4Fhm6cvHjmPq+C55+RPbJM0pzx1iIyRHsEunfgcJHQ+Pg3IgrlQUb+Ij2nkJAeXTjTkyQa6T8QF9rqzfNTrxdOLMktv61bAonkiLFL5PM77gX01rPWZW2fOxD82JJnKdoMhegKDgtqjNWiVIA5dEkKwrkaRpGCcHhORcE31KgcbWu6MZui0zm/K1cd1v5aLF37x1PVCVLNiGtHwrfByNSAUDLll9UgDpQ+UCYZvDB89hvh0Fz+I5eWJlcojwB/wouuoT1zMH9HY+upwdSwMhKuKBnRVwHLNv6seDdj3lwNlxV+E3+M5uBOELnlgC+7w3bpgXKXt1BvsZY4NhhWzpchRWfhFN/qR6zDPmNOYjmeiEe/oP/oQYDNH+pvLtc11FYdAwBLgoswxMnPMvu4Dhm5SCm380R0klidOCEo5Zr/gHmLzwqIrD+jioK0/A267fddYThlj+mkoq2pGgW2Ws3UClhgg3jxcx6OT1wMO7RSFsinSzH0+BpqRadC1xqd4WgGX29eqD5ZvMgRvsp32Z3eP1R1uU4tTerDHg1aWsPJts4Zw7WCQpbAE87gnICGGxvmPwpOpBpm4TyPTbHzHKG9FWxnScXsETWX5hlaBNEP78lMlqEdrQQsZ4WXCUJYUbWM9fcRtqeOJQQ+OA5CE+YUwdz2axMaE2CMQnDKA2UHQ75PVH+I94z+lVybRzDS9Dr7NMvn/N2vJ9o5g/QUpT3jf82u04WnHtaQm1vEJc8IbutHQfyJDPPn9rJG+r/l9cRkwcrUcQXMz5fiAFuch3fADsZ+uuvoyVGsI7lvOgQbqrs5JMzGrxyvZDuy/Lt/Zz0C2lCvm1sTt1OcFmb1gB0E2vEh9RS6Fuq0p/MyTtlZHq/44qbrAXwqdAQpqg20B6KpLXnkK9NSnkj4bPJGmXvvvWv4PJICJ6D50TbX0iVgqtFunEH37oHES5NrHGzAFhIkGxjgD+Ubz4jhr4UE+0SPE7BEsVvl0gCOks/Ws3Z2wvI3IFxmYgFW0kwT81FTAOKTz2AmO7+PBMfJN2AN2pujkt5VgLWEWeTDjI6VAOyGN1w1E0Ksr/6Fb++mk6uS64uDFu4Z5v7B57p/8xhE1bA3jsuvUaeb6v26VhT0cXfVkp973muNUU0rvWbvCRaBZMkOWtH/Wv+SHVkJfq2+7JXf4Q92qJJzVU2SK0ZjHUGxsVjXNh80vPGsqlGBH5c9DffuXpnK4k0X+2HM7g4Xjs1e8f+3bl37XFuHHPANwGsxDI9811MjTOkTj+KCOimrb0vF21lGz28EPlGsliPnvOaEjQyjovD+WutsG4xpFPU8AU9EKtALpLfuy+IWIABnu/mGTFU4HjGyi5J8WYovgBNeca0moIX00Sw4RVysTBr1E2IwoRFL5tEAXs1wA6w9kHXKDkeECmoof8Z40TdYnb6PHOl2omjFQz3uVX4Qh/WmOvDT0z5lBqR/WTMDoN5mrx7E10QOUkKXq52j+Z4p4mjRKfET9x7JZgL27PE9BAbMDDcUXk71/MhX6z7BoaNhv2NMG1S0qAzxc9T7CTm1PIr7HUzFjx5diqeDNjpljOomu6QofUcxQR+ZTjs9axGrfNoDzWJtvu1VF5AvD6Hg3gl1jLg+1fnhN5nYOp4bbHi7IIymhmyKCJaJ8vXiUmQzWcE4hAfQPUtirCmDMaXAVyaZBYpCj4FuJyqIBAG703AeJ3U7md4HEWjhSixinVzpzOea5nE/FGbxBpk3WP3iE0PqqUAO3k7t4R8yJ8vYBVLbZpAvVlEDNraCIos5BPZw9inikokQfTJUSof6AvK0mzGrBbLiygF6peBdCeUON+12BdA/+I3adiYaDb62UZ4P6IWkoQNtzdt44kD6nRjZ1AFKDeHrgUdB1t/4TSodbSMa6pdkWw8/89vP8keUMir1jZzDPhz0krMolns2t9112skmcAGMKB8tacF6wViheQR4+soX/3ExU+CuJaad5Qji9Y/lb/+oGbBSXTRt9WqGB2RDP8u+T2Hh5emoLySJQYLYCi+3+NwhllUhEkjfgbXfsIWKQJEaKcyq5TpfgSydkqyfHUPdhFe2RQ9U+sV+/fd4EZgSqkxJImNFwbdWswX5q3MIXrhOdRSS4ZlW7wUMsPYHYcs5hw+vPlhkAx/s+07BVhowR/QZWXFTgwn1KvRIeYo+0+TNnhYx5McszJfK2A65rTG++EL0egutVYu6Rd0dM4CBo478HIFLNV7nZXGlaWToQjQr5wvsAaXRzu3733sc62jnMvbhP/bZlc/IEDNu1VcADdc30cDARpKii1KcGdMhpSKg/LoTe7Jo7bB55/26RuGUZ0c4UO0wx038pEjhrCBoSdbLPQXI6g3kHiTzbwV1dFWwoX6GGJxdNkDEZZe2YvE8qEduySOIwOO8zSPTlKeiqJZvSq26sn8qlR1UHztKE0RAmbecCbVarp/O55NNHw2TRP/ZKFtxxy+hdroHH5SCNJpLSiYiVuKzE+HLS3YDbemev2V8faydVS9BrjVZGwJO55jfaBsdkmbsBn6PkdguhqWYmULmjrHoR4l0626cPy5yMkPs6rS6boDonwzdD0wAvvjajQfTz/kUr85DxuMEqUN/kPVEpXt2P0j4TVc6o7YUDXSfTLTI3HEprUgHfX2HziJfF53R5+MPKbheMFWOwPd6aEcfnKavdbev2I7+7bk4tS7NFxBPq3MlupP1ZMofpe6/bCDMAneS62aPYa96Wr6rB554b+ztZzxSiLrOHQLfpTJLs9yiT6UzGEj/yyTezTXkS0MMKBkSOmesqAYlwnY78FrtOaXexC9xS6ohoZC3K38LUopwFCs6mzvIIlYPZyOOvuyiB0I9YVqrFxRz/4KUtEPWqPm8MkKG78xVT8R1SKgXHzsMS5duHLXYr3ZVDmPD9HxA7n/pwN4sR/viXktu0jQjwEGtQF4sl9ZYKTPkgcHfqZiXrdRIOAJhZeBJncHf8OoFijrczyuLPPhf12TduWTYKKZZS8/nbfH4Guc5jCszx2yyysCMuOL5y44Mub0o2EAcD7+RiS2hMmRL97VOJLXY6Jr28r4kSbva6WulQt93HughyB6Q7jySWERB6M/4JFCoBoMNb8GWd7mtVYoYKwstTosKXPHEMwmvU7NZ/KOQIcUUJKjqfwmD9u1gdUuudHVZ32VY+iEM/v4KdelAKCovtqXbiYp5guiUAwlR5kgAxlSygY6OtRRZzi+gTErXjUqvFhJYtEDDx2GqI8ckzpUQaDgTb/V0MVmZowj1HP4tMOeIOfbAsARLADMbD/j+UwMsIQWtrv5BkysDwkGhNEiX+jKWMt3Pc6QpxIpHKCS9Ep/npAL3mkt+V+x9SFdZfC/x0cIUUB0aRdK9rcl+APi7tv/qMWD3jnxarv046AXAAT5EjtLu58omE9/odoz7szV4/qKUKNzfVJyg3bIggnMW0OzlwFVVhuUxM+yhRwnnImMoh2+WLCK3JmkXHuJUIgAKlMkjIeegG444R+pXkjNMNTJsLAUIGb9jJJcUYlfFVzBlqwDIBRHQnOaJfr6VRYH0Uze4XtTCOX0io43kl+76vHWdSpmlyyuOBk4G+Vj+QWNoqXPmJcY0tOCEkNCA+tD3JCO5FzTDgb61XK3SXTIy3NBEyot/3m4fqRn8mZk5SR+cQAh0O7ERFlXUtPfJxhQPr9mTv3IJP4mRMAKJvhc4gaJwwu2YwmDPPDAx1DSwtFTZpNAPruKt8yTePo81OHd86XIyLyb0MPttIKE5Bm8p1ljcwwKS/EDCnReZ3y0FfxIj5cMRvmnHPemLKS2S+Nw8fNEiB33XKrLeMgdO17znhJfjAM37rtYTK3/XC8iQsiBbgcpzyQFac1MO4Oi1H/FvmmwLZWT+ufZNW8tCeDJQJR/VxSyAHjZbe13PJ1Qi8TmNuACKj7sFJfZDEHJFA/NHUZhJbfTRgb3CJeZtI6MofqEkEhCUHDBk9BDwa4iI0Ygcd/FQT9rOjimuDBV4asugeHkSW0d6SG/4XPptHmuL+jvgQIPZQyurnUxS4fzHdsxyg56ioj931befyzmkchSth7Ftg/oVTJv+G8Xrbn+T6wUO40qBMTsK41ec48sq2SS8XyQl8MM12kwIMiGpa60LVtjCZ/H/t/vLepyueH0s9JaAfa6enene0RYnJ+sgvMsFgSxBdtzmA+Fc/saxmLb9A9aP4la3oRi1ykv/tb8nhtXzYbNkej6JompnGKSsAXjeDHEF/73tVslUwPFRhq4BsYYQimGhgymktyvpZPRGviQbqxcIVbtAOFbkXR+Y9sYKMzyVF8bSg73JdQ8I2JCKOGegUXMg7oNw8mdv3ToO7++BoBejxjVPt1cPp+cP4pcaEDq9VrYhsRj+DtjMrEd3n6unh0+mnu8zAMjkkY3IwREpf05eCdqmHsslJ1MP55G5210ukyBCo66FeLFkMn9HeshqMbAqS462xUxoGBdElcVd3RarxokE6dw+SZrER8U7Osm/ra+W2s5SaGg9Q0zczlq8r5wVMGUXNOrWbUvCe0Jrdmwa8kc5JFVLX2SPFaYq2StnUMCl4G9aDGRojGLAUZi6kQi493dyaF4/nMRtiEXpkUEwOqIFBExc/j6wTU367mGsUiX8iz1HwhGCyAV2V6b2d70rkzSCOimn7wM6ri6hdSiMARdCKMDEl+vEFost0LwiUnV9JhYjuUJsEdSN6xj27RxOYke6ZUP/lIjbqtsDWPGfaGVeCGHWW7ubqBBGu1sl78CQhutBGUasqwx5k0pE7FPqLomhcn5vD2SQFCgYPyecPKysZaimfvXYtOMNLLd6eWm3HIdXLhLyWcNasnKx9Qe0l3DOO6/cQxbUd+AoQErHYlhA+LgJxEKncJwkcQ0xqIiWsNDgLBJjrHt+Onp+enjKxfElmbmcX3TB+P/Mhv6Hge84J8lgOVM07+XpgH7zlNawJcS3re18IZBfgnPi+tu2uhj9JyAAVF6rvCetntaJHjRSP+jEzA7sfOjENvKHp/GXpHLToItOUdBBsCzY7fSCYMk3X8W/l5oCoIyW5pOOTcFwyQzFBKcLTpTNmTvbNSVHzqpYcijCU0XRZDtFq5g+Wbpz2tWVoyZf6+PynpDYdQV9zHzE7eH20cgyXtm/YIB4+yq1Rl4M2lUa/cFjgh7iNgKBh9QBg5DFmj6V1VoaBecQP7veZi+9Myw2Z4ujmHbpowNdKCh014nvPzLJhrfCbUWeggOQCXW31VmZBTIPQCpVb/uCCQPR5agqvxJ3YP+esasQFVt12gqFCZPmPd153ROzOfsoIOXH84Psd29YeDMPBNJ5GyOTWuz0dDIoNswFdgnX/laLIGpeUiaH8231AuotXX0GttyVVQRrsuQBEegZXIOpYFs/aBvbab4RqrjgozCUUlv4voS6K+M8hXYj05nUsdG3gmPiw4sv6VmJeStYrOUJew5nnQv5g0rnC+NO402khV5IPCVUpd4ASpDOWNYmCy46uW6gGo3+qA3u+PoWqdRL3GyvjRLufVIEn18HeniY+wK+Lhn0EjC0HYpOwz6b4+xRJmu5uJGkaA4c+QEkk/9/ZZ4l3CBVNYYAueu+SsvtyddQHt0eukefttxloX6FV+msqQfNvyiiu6HlsaCfNuBr5JBUmncpE6amSL6CQuIr2Epw+KLy2DOUIEHO/du/56R0Pg8mlpqovCloGbAzrvLYhmS/+uVkf2Wi4KzbOfwGg+BFVOLDojyWRmqkxYmmIAcW8qFyCxw6xTKSpQKA81NyNQKp4z7Exvex8rDI9VJfimDbs7uqvnaCQh3S0Flp49B9NU2x1J8qi8n6OfeMGUAd7PqpWcWYR7HefVBZM+9ZwEkimKrmSkCgJh9f9rbbJKKllmQ8xUrj7/ix28Es1dLkyPHa3Y2Sc0ZGeWkIKzRnAARGd43hqkGHKCQ8tHU5TOKmnhC/WysffBnKdJiR+tWVumtV0GRUeEjnl4k0FRBCci6zP/ADo3RbdQ5hfPuJ5qN82wUyvQdJ+5/zHxdyOiBrXO3nqRFsSZYP4reiGozLzQnUbXqIGTj1mYpHFPoa/ykTIh7146gydT5S+yeSr0PDGRXDr4ubBvzUdFHVWJ0Qsw8D6NZvyt9iKlV8XlznULHB15X+H9wap2UZYAh6SD5KysmeVpq2QN6lWDN0a6a/vDX83SZ+hEMxi78XC6g6P+U0vAV3CEMZT4X+e9CzEl3n43QY3bipHvbdgxscYOkBbcIzPZgRCsjviItKtIq4KRsK7gs3eTee0yrOWzzvDufUEB/jSytF6+VWeQwZQTpxZkjpFCO8ublnHNGVc16Hjgev9YFK6TnJf2wFY1Fn/1ARLDd0iLAWM2q202Qlv0lTaY6GYY8sKH8dGdRwOuBpgFzT485l8FDJbjtX5F81fupUjkIFImGTCkAmJjHG1MFHvx+MLOl7ZTzY26S6hazsx5dmXDcuLLQTqLJI1Ysz2acLNhPBP/uskBdSfDmhyXA2xWyIOFPS4i0ocxok+WWjJXvSt+7tlFcqCMY9FhOT9smV54oIRoCmFrFDeV0Sr1m6XJeBWNoU+UGTmwAbjG3ImECL02rOckoCQyYONgKZv/5qAgUWlQGdb+dIkwfra+Ff8j8Y+wynl2JP0rR3mic9npje0NCPdAdXv3Yxd3Zk+POAtyFmLwbp8KfXP+pRq852JCURNcSk3dh0gexPE9JCb4RCWgR+/euqX3tCGhPzX7MrQMq3CdoohBqj64DD3+UvwsxM5bd00zb2dwPWPAMpk0Tfw53JyOZOGVLVqUNpexUmSp+rWoIGrGUFT+GSik4PNKbIV5FVpEPMZ8/nZGkh1Y/51rrW7JwJ4gQKpryb/7M+upOtmnrhAPzJKzV0RypU5c9pKSVhPOBu4GP9PeE4kFm7x87GqLq6P9neuZZzgADzgyunyFwRDHhKVie7kKDU1VTzmCBYo8lC5d6VF/ZCfnnNe9Z2zxFEyrkjHQ4JK+cXig4nU82mQin/2BoPcT7GNbvnDpdWsETg8wrMSaLoy4ySQwCtXMIPaCnItNTc6EXF4dIWGiS3KZFk3wcWgZ0RR2iIdzYk9PZ7wT6D4Xgts52nX7UdjBB7uqjC6yWL4tO+doFAlD4qAwznnxao7CHGc3EYLT29tgEJ29N1WtDWiexEbB4JEWLudhH23wxSXy7wDyj6hlI/tr5Uh1T+GfmWhkuNAxB8PWf9xRNAKY+X906J7a1rJJ+xu0iBG0VTIw7ckmzpiF2R610JoIKccTiIX2UpJPoUEbAGqC36vxMfZaGj6lUMLGLXhvldITPd93033Si87NQ97FlXnEhO+KiPr7dZ8coJzXUccAET9nPLEqzE35X9CoplPhrIF3RMyqijGdA7NX4AsUv27AOs3yj9sTnXXVlNKRN5B55GGWj17JgKfAf1FhWopYfPd0YOPgRm6Fayickh79Sfy5ygFkfwYO9gca0kigL/cdgG3EMsrtU2wChN52cu2LqB7x52caLykM9cyfpweLzPSz637xIR1FZVSDN/0B6kUiXLE2IhzmyAq2kRpnsp5Xu8sTaELAEgnnSEXqs9E9I2KVZZYy2IByipRHJAEjUMX93bxfLsiCmZQgaQt2QAFLC+CeBOSJhbRNimv/1v1sMfUcsssTsRZBfchaXFJhDYjF139Bxf3lp5ZTKgCNgbsR/xqxPTduPQm9KrLSLuJWcVN7iekVDudAnJa9s4eO+vJN1BFY34GJZf+WI/kxm1CAi5A5oH7Bowf6ayw1/CmUSl14X/D2/x4rD3FIKAaSh3U87Jj/LcAvBWhDPZY9f7Kh2c5hWFilTWRd2p7q3Shy0OHrURxRU7+suo1GCnusS2ydMwry7CWoMuEMokaScFwD3yjfUm9OZ/q7ctyEEfE2g82AdG1olHgwbZVo5nh+NxIiksGjFlglmUCFKIpCO2A34UbxWl4iVVkHCUhtZUWKGWsNa8RSpL03jsHYFQD6IlFczUThUxESEeo8/eVwnFHP3zP5cVymIGh7LZMbidL+Tkj1PIYkPUEkpxT1Fc5ggVbR/z4L1D83FLlXZScjk4PDUvV5B0TdTV1mul41PgvNcOnjs9KVkryX8meNMutEcYzK/KLxJC8KRXPXzoszDADk/8MQP39Nbg1H5iqtZA0EH6dS2QtUlHCLSXOJay4HuycLslzYmoAW05CTt6XJ9Jvve4SKXSmdBQWHoFri9hP4BKWkS8l5kzPFVFx67n3X7ThA0cVLvu1KxuOC01aqDOMTF9ZJFdULd1rn28iwWLpgOgRSR632kMiieiYg//LvkI3iCyLJKGcXH4W8jmMyW2z4FQgW/xKmLLneNRKkdE6hSk3hx1dIOPRJ6LewjL9QhhQo4+khacf8LzxQCyJG70camiJWjEt821OFgt9bO5KKzyL7dFjQ8wLhepM8G3VZ3KF+Byg0TC1+l7tFPwn18Rp2fuwS7sQ5+gSyY2IptanlYoaTURPFKpa8PfzjbKxhmuAi4MyBGPUqY09UNQeCt+76aRGexm0/u1Tamq98MzyphbQawYCrecuuCQ9d4Rz9WFDWI2e8SKUbTUDC8CX3TdvA0MxkZGTTJPQ4C52XvZA4ZDsbuOYTeVsOP1yWo4GW35Q0GiMtZlBzVSF/+D+bGHG17S0HEkDZ+tRtEvWV1WfRAw+3HfbtRfAFviTtdCWxBl0BzawXqvKcprc6ttEXcC2PJY24NLT3iZXV7hpGupugS/nd2B5t8U01uYuht2j4RQ6Ec/TPN9nyTlSTzLFmN/Cbl1K3zsNbsdKdwbeStZudG+HdwXILDH5GbXMtKxvHH1XBq+6nQbQaAtAcZNhfgNlpPlTZf983NSHshWSDbvTrre7+qv8iz3uUxCCju+SHRYhrXQDo5+aO7mFz8bRl1kDa11f0gkUKp/LRFX1xlunq/Zi+lklPNgtcVdHNsCwThe76a7LQZ7PpNA0YBAM1bUcyck8upolqqFrohOEDkU/VYWjybT1Aa/c0DFARV6VD48czVUkPT/pFS6G3ZrToawU4oAALldUVQ/4TttqtoRPXIeA7PTH+zeMQybCv6aZ+DVk2buxCNB2I0MgCh3wJYgtUNsTorKoGA+/ojNA5OxcflXEV8h4ft90foXc+2qD9qRAqTLRAOvc1tU3zovzaBpoxVByg19wn8yP8G57UFCgJTDNCD7piszCDCN//uI1QfVILCOTs7kcb2u2S48YS/3s5X7FZGBwPiAT5BYb6ay9VrpDMotzpskdUOI/DlHrzZupORj5N3bmdieDHIj9IuW6FplEeA6s1sxoGIXM5oMc4KFdR8TW+2croig1YjULw6xlc/B4W/kQygC/Ay/mGeK3cuzTNpYwkiv2F9aSjTIjnJRjDvoDQ/ksecMrVLXIN6nAN2mCrmXLKpUPyvCxwbQBQ85wDkv81+5SQXHLRzHhAeayEi39tzbieB4IBlzlTn5MgrjU/FK+0o5L4WT78fbZbspdxa+A+ajSuEixlwRBiBRkOSRLH1mWPMdaOF8DXEYNYIEiMkfcc0KSsyzNg8exAD49DX9wS0naih/6zOqEwxi+imTnXfeQuWk8A+zBd0jG5hwatRXMP0dq4LBsLKGh5ZOYMhQgcjm4XPwts0JwHp/deY9LYnD0zXpsAgmS8zaqTleq/j5YELuhCKFmHQV/5bieD4VfcTj9jIqsKPMHPF9QXzfSM20/d+96y0uQ1PtL5hkJKDnwfInMQzYs/4y9KOb+XNCQZS1+8ja144a7/8SO16M6m/msOeq0F53XL8FG0/2FLSnImYG5Whau/0Ft0q+OhlSsbB8I2w2KNvVZsMyAg6MVh194whjoqsWluTtxRpFvZMe1ov4C+/9WWyqBywAmCd91UiEyJh1W/lCiPSUYxe2Q+alxGXKRI2UPJluKg3zBrOPefEuFjS+4SVr2NgGSORSxVnpeGVHmDTfCb+zK/5vqGn/tg+I8fe9onqJnBvUkeCP7yU4+rze65gRspo9JQqFQNoFuei6ZUcJ0aVF4Tg/gxzYYHxNrBSBQ2d4ihfaTLO2CJsZKGs/CGJnFRPrP72s/Qr+N1wqNMLq58nCckDcxwgRdZp0oXGFYT+RK5y+aQXLlrUsRRnJsJhJ99aXov5xfkPTzY9RTcaXtQ7NZjVlZirlB5fk1GplhcPNVbJBnV9QfnuKSRXgPTb3C8XUPM/7JM/KI7ROnCkifXK6OcZvt0LT8gd1+xHGqIGNpR2JecR0XBvEa52dGnmmw5Vagefoiv0wT/gI7/XbPS6aI9mvdbtPATDPPyeGrWTaRpFynmBX2+hUCNkgnC6Ci5MNtYYUffyIzXL4UCWkTnadn7csJnpo3uurCWLkO5J73sb4hNXgLbJXc0S65ev/yJqROHjyz/ICP+apsKDBM1FyjxBVoDGnpXNZanAtUecfYAQ7hAuaHw1g5feT6TUGt3F4SHdnoB7urWEECFBNlbZZRt+bu+yFy+ZmG7TZpwNDEt6Y/v4YEmiXpFe0MK5V2JkuusHldJAESaYErKT33x8T8/DhnCRMaap2tC5flCqeSN6bh3+FfdkNG2n4MrEh95EaQdye4lX4I8X6Y281sOMcx4zwJrpJj/JrYSZaU3f6q5xmEuQCcOnKmvTlFjW5zYl79L8Kd3/lEfRSReRPUCdo9Y0ooMV+/EmqiehTuODysOu3Fqa0NoLOPmD9F+Fb8O2+eQj+piMh56P2qIlDB69qkz0Rmbm5bWeAKdyXQeJ5p7Nr07MNpxh9GgIDZJ9zyK/FMNCHYIu1GrhCG/JIGPmV+cZX0VrahX3DTrqSkkJ+RuY8AK+4kLRXSf2GDIMI2GTBFqPgYF8HX2oicGsVmemLwcGk0D4JCH77VGg+N8F9J6YpjKajMcDywbrg+tXdRA764XJkFeqXRwb3dhkocM9MI1LHrxsTYAh89wrP8cbpHSqEc/MvM3X8lQK1rqjG+kkCiS63LZr7LHB8GQvnwpqwzgV/7UqDr75pZlxhDwjGxliieDF4yVLAIohgXh+AHiJGXOFq/YqdRIuqwj3FA5cGo5uWop42a8xPhBXToNnp0FuDhUjPAXA+t4BWAFqt6RTGelUOFrIOggKL24/lP/qRU6ktmrjmj9/g187sQ47BYuf5ZOIS4yetXojmxVxftG/nl1hqFOLH7WobcplhWcJY0VOBEGQkWWu8W8Bd3gwix1JsFlICZLKgipSdLtwPPG1BPSimpfqOFtuiimdIYS/eS1+ChtOFrZW01LWbHDgNpHOyVHLWroYcUsFo2AO9MmBj5mj99C3kpb1ubDJq+fMClhu0/qghJONCe/TT0RdpXEvArBAtN2WPw6g0LXdUDFNKrTLV0XSTu088SH/JJCglw2zrGMrskELmw0dG/Kx122rOR8qbrseSM/kYVu5vZqY5w3HK5xllY/DWwM8/enCpogbt97N8WoQ24XjIrxe6dxbUYHPKw9Uek7jGGWVV26yCRtGaVgD6OjZKo+y5SrozKYH/kq0qpXpQrqLtv2cEiSLdRA51ptB/xvTnbeSlhOkZwsSOWgJHyxEOJjGx/9fqIM+2w9fIrOVfGhXezEWJaIDUQkeaVpNxUU8d6Gf3zYTn4mL7+1cB/Cdipx9bL7Hhn/wUtabAVgI1QrpKqQwFkgVzi7tINfbbrPuqj3yW5Zu/LEWqgg2N0qMuj0ZuogEBdkeKLXT6vva22B8fw7qP4czdBplC6wkNDtcXwUejHeUU4Ai/4id2EyfPx93s5Zp2vL6Ol0ObA9xyRaLJ68o9ijNWuAx3syQa3JTsfWItg25fGDGv6LIsgzIJCSs10dsfQsfiXQbTwA7fGOX4h29TMmlrnhfbN/AjINMM36Wt4Tj488vlHtNfTorJZA47g4Lmd+D0S6r6mR3cIhRBKglTZ4HbjxHx1reyufh1gtfajDEU/pOUjcylRxg9R94HU="/>
  <p:tag name="MEKKOXMLTAGS" val="1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PICTURE"/>
  <p:tag name="MEKKO" val="MekkoChart"/>
  <p:tag name="MEKKOEXCEL6" val="False"/>
  <p:tag name="MEKKOEXCEL7" val="False"/>
  <p:tag name="MEKKOEXCEL8" val="False"/>
  <p:tag name="MEKKOXML1" val="4HooU0THZk28POP9trq+pbTvvzd/gcV8t56cq85kb3NDTsUhojRA0EsgEHHMH7oYP1SYpn09ysXVivguJdhTvfyVMsBLTGvcX7WPTor/CmXfOtOhH41qEIghVTfcT6o7+LHxt2iMj4vD/tblS6qzJ/gMcPCGrbvVDHAA21UQtxjiIUqba8bxYpIy0ufKDgD5XDCDe+RVNlFbJpcVRItRb19Hi89qJjTD9ipKC/dBBdkNW3cqqxFriNY2B7W3+bXVxpcBJ3WxE9+VOtV8Tm585I32tmAWsi3qBeXb5MtO78ZlEar+3ePvZm/eKkNj3/PmkC7+73A7e2tVVjZSW+pEyY6MjjSb/fYuKUlYdpc2J851EWCgPDEiElWg1WnTjQz/WMaup5Ox8HzXdYPaLQY02tr4lIE0usFqpPEw0kAWDWcYjok4eOt9EVw073UTlngHofjai/ToWfbOdqm9oJ+6oBsKJmgHTVcOIle7J4AIEpuHvG496en+iGEM42uyGNLEqbn/rPWm0HFHWjW0Im8qDo6T8JJ9MWVWo4V8z3dk3rdbfoA2HYq2DBgvzZkfLx9gCBRe86WwP4H9AdJdrwdxn6062SwJZOuuDM7FKpom23pQmAMT8fVEQMZ5nfNHKlsxO32tA24iC9KE2fUQHr43WCNmPQ3UrwI9v6UFRZaJjaHxr01WyN84IaIGAZGAhvotQ+cGVocnPcLjdKmDHgpA9rhuVpmOTiCpcCNFBvgcsG6Ib4ANMZsQKVZ47CYExh19qoxwWNSPo1YIIDHI4I/ASIu4EEwTMbXhFzEDEOT/VhWr8+8bc5m1iTZwyQi5V/Q0v809OEI0PpTK6Uuu9K8tNZg70ktmBWitAuifLIZ850dgWGJyZTfWMALVQrZ5+lR8M1rpcrfSIx7r9r0Ys44VTE8UZ5z9yZ09DkafpeluiUVTt4lvCS72fjk/07CCQZbw7KhJer5LbcO2JTm7+8AeLJIWFJwSuGmJhnSbw5gd0lgL3v3PtOf+wqGOqxi0mmw3xjqeVj4h/QoWtn+hs7tvBTKFZShDE0AxDgwvuiebdAdMXcoRUNmiQuj4wt0IidIqb+d+4frMlqBTVajvW0HsPpdnb770vb4xXDVM630EeVrdqW4bYdm2x0q3+b+qP9elSlWXmMac7baQq5esLVccYY2dyOezz8sY1c2eaieGhhZIjuJabUs12zoBg8lSki7lMrP1U3ni1i0Xhltvz0jYyeXyaT0U/eajGr+Om7kiWBVU8FWYalkdu3nR9AF4X52WIX0zBhqu0Hb+EAtTPmJJhaXu+SlQ2Gyydsbjiu7vEgq2pT58ItcjA7npZg0xrxNqH9W9B4vHm1vuNQ7LrUn3Fml59hn7JKZaXQ7f7RhXyN2+VqNdpe5WEnANPQ0FnZWqjkTBx2e99WUypKj5Uj9UAl/4deao8gsRReE+dZZlkStvIBYuKYzsJ/dF6AVekHviq/NWXCuKzEHYGkdNbGKoMhHmMNTBYESwwBj7QrbK93p90Pfg/uCHGzz7neKbB9o0KfF9/ZN3rIGL7JFsXZ7IhuzjXEBgZF7BeaSt3HzA9eiitSEFqA3T2a0w8SS/kilaY6BliDzvwvws8bwOaAZIYAC/uF0b/11p1J8xWKYxZMS11UdRFFVdqLE3JsVTZeTiXY7iQNBdetg+dR3gV76TI89YUcg+v3OVuVRDZ4WDRhgqPnRXNleJPUPMNdJ0/YJG17E1qWwQoIjUNzbZsSAeZ5epgbynL/bhID5s7RbEic+13zifMCGAHklvqgGzAt3+Z5Rus+UutYvG27RJ26tqW2gFF1o+GJ0JWy/T70yod0qfc8+349gm4Q5YBWiL8QregrtyxWsvdPbXqsMX+kE1TBcgcBXp2nGsRVMOvuI8XguseXS1lbzYyjr/Cy6nVg+vmnbIRstXGHiE5O+UaAi6f9RrCOb3waKOHzdRaGzIeVswut9HmOfFruTWNzHx/gOhmY475o3/ZPXrFhu2IJmXJnVMxAzg48QBbr3UcjMjV+hcxSOrRgqyTKNaCZksWkZ+gMoxJAsWRTPdr3vdvk8lZ+UKJ4alRqNRzDEfC1CvE+MznjMe6zbzQXOGUZulSITU+CMk/uYaR4UpzDyuRCpBiQfJIoiYxyDG53JEOwEVYC4GOK3vjXd0TlhLGnED+rRIb2A0d550EwrjD9MF7g+Ip8LuA9x44OsFnugBOFOlm4JUHG7483XgMEiIDPqsVrH3LjdkmzWKKS5LC2IFeorhFWzp2lM00C2Gcn/mXUd3TESSIOXOif2mbcTPgsqB1iBhTcvS/DU5uQ05wHY9vATGXht+yhxpimfdF0wyR8di4Obq/4CMyPa5t3/qdlu+0wmZcw35+6lJLPUGjqBxDbLfLKjwqn6tnzAvUz2aduEHjWGGne9HD/7hsVe2DzuFGxntUjmQ+ZIOIFdpwQ0gzV8P0JLeYGBKQKYLTOydkrR6c1DqvEaAG9gYqTA96BEcb7Yc12vOycY/cUG9ly87j9RaTC+9BeT7Y8Lv3/wQqtPK4aCiRMNxWW5pvukDVnVq7lo86pyCKpaAloY5xZ2DlavY7gVySAhwdKcNA+QxV/ATymoFMTNOyRMiqks9ED/4TqfKSop+9gEmPmqNGRLzRiGtws+dR5G1lyKbH11PtgTm0E4rvC/Tu4olOYsBAqXIktowBXk8MPXn1i4LcUvbMfUF5PT01Cr4zlNegqOzym/BlpQTEKOwajkN6gnxgqitrndz043fs8bYcwv8k4sQQG7NDdVQUNinWybpgei8DRhqnQcwbQuqVStbF21p4gl7eVKGY7/jQAxiWL6HdfC92bzZPAllpec8tKGR0YGrKwPrNbtqSUJh8i8KYed2aZ9ohoByqeqh8yFVxQdRIsPZy2B+XQivJifIB1SVJRtPE4bI4b05rL7s+MG7n44NPHQqFmabUCiHhmbynxQ2F1f0OTCzlmrA5I2fm4xmdaaWpTBu1poumoKCVtwmcdRdf+z76yoqr3/aHancvZjH9ydkoM2Od/cBfej+EiiPBW6V4kLrWERCWY5S49K5Sfm/UR4LFPodSPvAWoFh6I7JrvFC6g91H6lyXHHuoew+4HdbJXv9QPQUJ4dGKW4N0vH+kNoBFmveC6DtT00KoRneP+YzWZH1z9GH6FO9reUDDtQ0ZjW7sy2yC3C5UH9kyclY/wTLRW+8JJ4FEhAWasLMpoKfMYx773NWX5gQrQSExZttWrR/LkdnzCM8KppFTqYrPxuBC0g9MN9rWKlbSkjHXuOeOXsAOAFpF2/R68QhpSh9kkYs1fkOAsDN3ntinQMmLej1uCsuewK4UCVO2Gh4Ei9VUWMJViK7nz8kmqwtBAEhdgLk1lKsoBkFEnCXBDkIl1snY/TUqTCazxj7xuzwDtDvZwRl08/wYHXGM8b+car/jMO0yA7i/qwbp3DnXGhbBR35oSUNtkwK/V3X4+aG9z+kAgf3DKYGItU5RcqHaG2jiG9uAenjk2dm6WdEdcuIlNRchwdcJqf1IquRW6iP1HAystGukA/pkelXQr3ylipRz0KDbIhTqXGakZBYqtHbZytN4ExONTKa8cllptSued5kkZGXTHFZ0Tim6ix0WynuVR9v4/wxivIH8gJXrPBDuhyn4Pbxss0NHhMZv0D/eVcGRgfAY37Pgc+2Zq59V1Bksm6wfhc+2Biq0rh4n0cqS7UQ6onL40HUl9R86UWwhZMK7bH+1Jsj8gEYudP8dyYF0CnWhHp3eG+Pa+Pg0liy5Q0O/E3i6RDkwXpVF9TyCKOQHEB9VYOZujz5kyGSteu26464jmZm8G+5QZTEhKigrI9fjaLGr84+2PKkxqdvStxyWsS/POo4QVO7eZabm9uLre3ooplzT7OJDGs5GAvTYEHxekTBnyPQ8F9k1RLCvfJfyWGQ/wdHtDREyce5XAMgee6KPsEPVm3vFEXzjKF3khIYYab59LWx8OSr51M3Wd3BCOlvStITEyVxsxnW3T86neC83/lSW52o5/c2fcMMy1wG8xTj1Zrxi8UI8ZbQNlHBlT/REEHSevpkFEUf7XoGr3NKT8lFoA6G599Ju2A16rpOixQRFwW0YWIEwIUhDG4WI1NXNKRyYBly052UAHo6BDw7vR4H/mFH0/togVLdIldh3przPWeqAiRgtmg9nXKeTEcm+OB0mwFiiz++NhV1+i0mko6nLouh949xNvg9TNHc0rEBMkaJPGe6CLjdtpqQqjc5bF8ca/9HSv1SCaPk3XIUVhCqT/hTvnCmtuLQT5NLjZDlMJIRf6SHL7nib3QBFsFf4lhYoKG001zjxF2PxV8swEv1NwPyCBbJTnnmV3bDjeL6otCCtOoheaWWtTUbImZxW1t1qocgIj/ztuAG2Nbx+18EL7i+OEWWA104TrAq/yJiozhh0tgUv0XsbCVjfR8e0Ay/gAWhPVvBKCGcGUzS4sOmTGywciQ0dwYGzKiRjdZdCWV3W6iMN55+bXFYWII+JvxsZCreU9/PRSzyvaN8mp9JGY16dW2SciFGnG5wZZlqtQVjXSw1+yyyaa55CY9k0kdtkzCQBruXXXQ2H3CUBveWWiC8ly8qQ23TPwxvo1C1MCgp+jq5ReEJ/A3k2ThlBf3pnduWKkYNRDru8Z63SnMbvaRWtIEYHZ0Wpom2AtMYhJ+bzIjxoP350DO9T1ogZ2vbi6yEtF0b8KR1hDkZH3IepL6S/5O623GgCpJK8fKLpvPPdReoQrIZzW9cP4NfdUYoh/J8Ex2SdwTrVtzWmja0juS6g+y/yuX2dPfedYf0AXNiCSO2bvZzBMaSNKeMW8h3DjEH8NdFP/ldnX9AIz/rtp1f5oYjsiUXfbMo1WgY6RkLzTIeUqzESyyvaclscYmqD2/hZaWJSyirF6+rnYUbvQJ1A5Cb3pCk0M8/N2JA7yG7vxqorFZ032XMvBOG7Ut7IdAcF6PdhA/YC9Ak+laZVrua9CvJWddlM62OKY+pg6/vsKSOyS5rBSgZDLmsRiJjah5tAgG0gj+XyGQ53wFV5Rjjr2z0slW+yySQ628Y9lnzqWNOp5a3fD+CKIPdiS+mZv8R+Z8Iyjmftinl/ecGanHoqQfJlNsQLtjolAVzPPvCFdeKh/BPcr10P/yVq4TAfvDA4m+bK4sT/m/hwVizWEQVvxQvEm/jOhBzPNr8vU5rIYdRklinIHEQwc+tILCaJvgpdmcfpbfSiqCW95ii2VSH9J3WuvqC54hfAG2toTdC6EKIGu3jBVwHORf7VZ4H5dbI4Tn9pt2ILlzVsSaeW/iLZNC8Xz8JPanyP+xQh69BlMt+oRf2tdt8/zVrGdXJMbEQRyVRV1/3pFXRlv8J9ODQdVbe7v0Z95dfac/Iv9qYK0LRQghkS1RvbaDLfzWDFBsJP+OC3/FeczDO1XlJhQCeAwyEZ6kfAxu5QSt9tGe436T7MRuKC3l7wHeOY0qq2Rjue1L3yvbEdFYmi1y2mEnU/SKaczsOGMWI8uIfkxCLrSfD3hK2AvjVHM5tTdIIZlJkLNnshhz5mdzfy+xBrJ+4y1JnqjrmjqBml/k2JXfYYPg9D9kIwRxDSpzq4Avbdx9NMrDqYz8t9Oykv5bP1pQyv5scjXQdFfrvp8T5iSu/LCKoWvtRKLVJtc60na8ZyFcphcmG5Xz0URGfclgM6xV15fMKEMd1bFo4GOABgexspgdI4K+wAOr2qm6MMmBnkXI7Rq5RJkzOqAEyBi6PWE6j8O/UBSiVqmKDjTjxq1VTfNPrqnIFxxNGmNcDadqnfNZ2u7xEQamXsgfUxeormSvfNm14aY9xi6dYePhqShNe10j9RnWNvxA2vSVsJCW5it/pNwpicqa3qqan1hU8c9TNx14OxHqv2WImjfXTNE+w9XRkiiqT6rJZMYJfYfWhQBmcPK6Ls6XSOZS5BLCDn+CdABnD6shYv8+ElEuDSOtX9lJ2jyymUQSh4dVI7C7ZAD1lEGKhiCbRl0ns7HvQBsgGf4YVIdYJDlDxiKgf5pWv9/jRI5qkXuTjRK2tIBPRgiPxAzhi2iTpp4B0RLEyWziP5hkM71jRnRHUR1OXQYFJIfQiom13YK6xmm+l5eqcydSSkS+Vh6qUI7pvDWMHFmkj5LF41qGQwhSKv2ABca3Y1zqf/oelYJoTVmkc6MLjKDn8PsfJcbD2TanHNF0OjN+44L0YD9nVpX13wUcBZ09GWcfq+drbkqA5LeULA1UAp+kYU2r4JpWN3ZpE7PfvWP0FHQn/dAUc+D3M6f13/mowKazFM5emHd5Y3gvAW4LYBeKzhdbwuwFR+kiJiYzoBX7RAijug1qEm3kFnoDViqEI9y/+gU+gVMiuykEXLOLg1JcU5u5USsnj39khc5qxV8hN8BO5mZjPWNJi4wshKYoVgcZoN6RZFcjjmVxu8wqzVzWrhUoGIkQCIvHyCgdYo8QI043Weye6qlLn0UstwhGRfOLPx1cBBTRsEQso4eviBcrKdwYebzZfoEmRcJbZN+Eh9ApFKQk0QKp5v8lDDrVyEFyuGk9SE4YuYpJGktv9L+Jic2YdOBv+BquesDLZMvHGX2QnmZQpgjOk7MvPwv3dTPt5IJGe6xosRhXnmMe20QTsDbeMvMW6/XgBA0xHV6ocfPXi/PvbYrAmELxL0dlkzzHL/EC6mF2+8kPPlRpaQ4bnqwqUlqv4wJKTkjovZngoqHDWiSPcaR2MIx3A2huL8TmvfVQaEozhlA6oTALPDQmLTs5Ajl6c0ad7bPh75QXWuhFlSIUxhdZZwlM4r7+nQDytzu1W1C+cMvIm8gowr5h17oxGTmjFJD5XAy/zE2eO25LMJtFCvAKepthgaD0tnNBh6wN4d3KuTR4mC25AAJJeSu/kqTUJ/H1wSmz/uQ7+Xa2E9wPZVyWcQK2afGD+X5Y9tsoliQXi+Uv20fZlafyvSlMqI6dIdVQhGFS/oSsWP4H580nvjXIvB2SQsOJxf0oPPVzWoBgKDvG2sf1uRn9oyD7U9oTAp1AkaL28shYYGKBPetADaxsJCAAY2o+8VsZ1YFq+yA0CNgKzaa8zDKR0h+jzZAF24KyCRjQSixlwJlAJCaqgD+9JeFrl13+OzrcEz3C4ze7JKv2mCvtvYHx8zcwl1bNSxw2Ky3FvQqlC8lPviL2K5IoquPzfuxwtmcCU9Sq/Y5iojv+f0W8eoSLOkJA9Ss5J0Ko14e1J01zm0Mda4+STmyz6riTMAsURPZiHQ1Q9za0QPtuytcbDk2I394Uk77SsagxmFGI8O8mnuxK8MbHGoO6fnE5emrjPZsFLbVUF5/uMKShs9UwD8juoFyzB0KkrNanOoflmNqIULxLaRbc2PuoXP2ltjd4i+qdA8mT18EtNia/xaXmZQbCkpUR9ajSk3YUPiOEE3R9ye1fyuIPRUuVPhmn4D51GJVTb5y6PNEvX8yichHbdUyuHINPbVbw2PIxawPMuoUDJvogFY/vxXuX68rJZzdPC2eJhTibBM4GPMWl41YX7OuSX+ndwKTrT/kOAcESMUm3D/dsf9v4WfEKCjHlrsd3EYlN2RVKOfuryszWPbeaHGM3Qgy80UyBNv1imroIsW9J6tJ1ufsnOw6n4rhgNjGyVbFYjZXCHY22wMsdK2M93Creu8RtDyRCXJzIZyI5pTPz8KX2zN1YVkSx7qNBfKF3pd13HWucP/LlQyKNyy7TEL7SJpUbsdsdXglsJeTGbRh8PHC4yCrsEsFJpLqrLh60xVdoAjJO+LerubXDo/jS2nB8oIuMESesziUCJGBIbLwyXyDNKBh8lC1/WvVApCUeW1qXxOnEz/gM2Jl41ZYoKvSjEFWYv3bnz8CM413HTNN5tvdkc6k1X8ymlM1zQPRdcskS6zoiib2+URLHX0hjexj1I8BAAGRBI4pGeshYQexjOewgBrVydrR1GN2RTgQG6QFmqC3GdfnBQ3irEyid3fHeB8e+1amzUkrBv4pswFadVCCVJ28hgxrrZRqXoZkSvakT0k+2PO2YbLcGcbjNR4F7VvhH5boL+iRv2fIC1GFRW0N65ax8spUodGikOvIcnxD1pcj7EYYyyGnHlJwBi6EolaOEy7nLTgm34/Yfono3DAPNSLfwDKonYpQggcf0Ux9IqduDIqXOz8oVwONOU13NTQgGtEOKCevJDlyIUwQxOscXXo4B9u38rwurdCFz96cKKb9hCjthlcfFoBTFp6QkEvFqwdFj2IPoaZcX538TTRynBH4YxYjnzk9Zlq23Y/j1hWdmTMaayfVvgkabLSGQ3PlGihchU4XqXA24uvYdLlyGtrI+RfhujOp5NzkmUr/yzyJY/IBx7NWETUaf0TFu6udnfBBgIQqfNFr0FT23yWMngEs3GoNHSV+uKCd94rSAkcxZStKN8vXk5m0UO7w3X/06xzBX7FIli79JxYKrX2Ul48SXwI+S93b7jKQzeDeyfEH9fp+T2ZSHtaYOpsRbUiyDhQctq86jUbpsYHvjGcOnHbvj5D2CxmuwwCA7DlqGzIrvguJ3THkDDYy8rD7DvSAbdUenCJIcHlat7+C5srSaU67Njg1G9prB132+jubSGdS0s5oH2JgMX2bqLnmR6l+GW/aCDjRW4WIH1NfvNRUei+ncGArswRnCOe2x/sZ1tWw9Vy/NrvaA0JDmTXZnByaOjyKPZ27ROUifBTeP/nampA36yKKJoS2/q3bMQWo7hahpLlaCJXMvUYkk04YWKJBCkM4PIfEMJOlEO8jb6UubFO8MY/QvsPZKyppb5Tw9wSapdxxewbD5zVrYeI6rT6D5w1+XBpV0z9iOcynXGk/fNphm6EVLCz0R9CaDsS6MrCeDlTTnR1gChhYdTtzjijd8Vc8sJVKE07NTzShHUXOaqE62d0BgcvbQsG+3ZWIdOJLB37byhcuu3Ub5MvRO7VdyuJy474MG7zoCa6XTC8PrMTde5p2RwWIqP4GOG0sE2PrOPOFq3R8rOTPZQrsl4AY4OfOnKEzQ3qF9BYJcjBNN4lzyXRPrPuU3H8LyQsXj23RyYa3/QhUr0rcsoZHNPAW9Z2pQDkeoHO3eCDEg+r0q0/uo7fY6/L6+cv3Y4mpuhkVG/AbmGY0R/Cw2SxUiX41rC7lzwdv21aOTAUd2BB1ASryfizum01q6IZLHI34GsPPmA5CJJ27n+g7W32NFFLu7bHjN8jhujFJoY6cBxoo/Dr+hkauxJhsTFraInZPl0U3KnfvmtEDPEKjrOl9WhFDv1i3vZdXFiAh07tevOT2RQa4BFz5i0Q1Ad6P8SxdYFOMj7poJdR0Vd8/FpA8jK+ybF+rnMrfsRI2MLPHWWXUkdrk5c0IYFR6yMPnkhw7wZfGsdTtusp0ORbWlJkR9FM4XWFYeIjTJbLOtp9nvQSWwDNB2eIw+zb/OBfDrycYHBzSgGCN3FVUHIw9W9PblmBZnLG6RBbcTw87BQL+FI4RDDvKELZhhCB48e6foVpx3ZHK+QX88SwttAOozKZAW1HNMHMJN106SwOX8XL/0cD4vgCl08WaRCmeWSY0LPDR3FreO+B6eVrHROEb8O2eGWyvmJFnlw8PD9Q0oCKHeaOMGSuc/O0Jn1ntgu0/5wYhrPBl6gehAqkiNBhA4T5v63QD/aw75vl3VZtCzEMCA4sUhgJaVyaDYx2G0LQEb5mCylT//zvyReMxK77nyHIt1DWby3MCxDQW+CZcc2cKfkPxfkUdc4PABAdYwG/IZ5GiWrucbjwkMkqplYGaN6yDoNSTdBVHY55IvpW1+Yn+Hla2kj8Llx/yIeU1sVHc1njTj6rLH6vwSZQfsRK/HPI9CA0rXYKAjsBCBUa/NSA3AH0DGyCmQZBPgcqY5TEJik914ZdGpbFAhlaIEgnopCBSIkLvFUdY4YzI4BP+4vokavJuSc2OXYr2pyQAW6ELp9Bf6mPx8y/K2FztYEiw9H1oJsglcFCNLWkRixNRU2XNrC6vl2b6TpSaQE7AraVZ+hJ0truR4YwxBgZslfy0UbqdadaiQ3yVlwJJjI57a3MeXlceNAt9kVAJwjJd2UPI5Ri7gaajfOFosCgLfaye2NIQOZUED8xVXidI9n3aZcZcOfkO3k/zYeU6C6KWD+poVGpeNojpswO7t+v/krITI+D++gwF5mJqEiU3xk0CaSeWdm1zgyy20VJHqbztkJFcmo84rwVprlSlIWTnklh2uJ4bs6Sxv3InW6wH0qd6cJQAA0vwkdbBziw/mK7Qk2RtjFN2ptSm3KhDw2xMRB3mBX3CoggKz/pWFVZ4qTrIJj7Smd2B65n8PtukNBhJPPykwU0ZTEU0wkLFhXUoGjxGhfVvRUJ1l9Ml4eGrvECNkJ1YV4e2Nja108Z8Tc/WYjiHQC5wI0Q2ZqPlTZC5CopRZWKsGFmENJNL6xq9T9Z7DjXwOBfl6ZIhJymcBAe8QdzrU4mUBfn/OHZKf2cWvRNhOTSNH8Ft6oveaV6Bl2vFsDb0KmXjmDqybQC9hi8JmNxPyDxZaEBwwChEaJh7J12bwwpByiEK0IIHsE31PGIEwk4ji4M0il5hH8/hRDX0d9pPeqj+QvIm2EY7UJdamJelfkXULZEpHRJxQbgUqewdRRpakhBiZcTWIxMoZM4NVeSjHSTHEhf+vdV2wLWR3c5+NfTFnRqwOfgP88n4Ersbhpa9mU7qDCTjhMx+sx+NdifgKpyxvyFwLHYAoSYV8yAdaFL2hhuuSRaa1P2pRQoJUo8U9wuPO2gUFwCnxsitO62PfjDnOiCbYv9EXsZgMgwRmwIYl7a4zM+zB4HjjN1V72gsM7doHkxuuzqgEBVM+hmGcVkq52oXwZHyie/80bjHDhESA3FK4oLf4IQYPdmX908Eorj4hwwVX40xZFXFSWWsu4MsvJHPn3TWCKm5DvIoIsi/p2b6eTxyV+tyF+LyWPXa2VqOjxbu668Sljv8TbffEXrb/JCzsEumHunhcqE0h7ebhlIa6q41gBTswoPyJE7lWBzn9VEhj7JhkFSG3qJUyJ7mNPRWxrFCLzIDlEBkn7oTXwGpeiOLQXtUS400G5wr8h1DO+NMYRSGGH5UV5mvmnRd08F3SqFAiQv2SbMRFyVk2+zE1Pf1HTofVNvFtxHgiXW3uYk/AzcrlWjOzMAdcN3IT+jOoEzpa2DpgkYOgatEHL67VJpk914+YYdMdfSojBi4mhX05PUPHJWMKEpAmUFkyQhVbM+bs4lavo1FZib4/V2hzlvaO4yWj80YmvU00fw1N3n7V6H0GDNVQ2AdT0oULf6zLqf2snUwhzBJySrBXiVTrjCAMrZYu+Ja+8RHDUZ86Y0qDbqNnwILFcGx795xXdaKde6KDTwLCBWC4pLzaJYZZWt19eNVaNgUDKECEVU+By+FszFjyfPSqDICv5gCrOsyc81pPmK2kYIIcxyEtYW5WxCU/qmXW7hAVEWrsC46Ha0y5NR3PwlkXZm0ztardvFfF9B8oHfxQrQByuKwiRIM97sZJ1elcaNr5AZymZAbzk++oGhrGH+/6IsD1Edw4rDFg0h1tqfb8oZ+0qXEIdrQU0qgeTz3w6AGt4nzUAwk2MgJnuc7j4LB8vFQOU17BptTPMZV7Ft8OwJzBu7oBbGwFn6ExUCNYZZ53+oEQ7U6qC9BBqiDMLwisvoKNNGV7QVmGG+AehysSnQLejDEeoaTgb6V9m1+hkpQjLnPTIhZiZT3WTzzRPSLVZTgVhMPfpOkc+rfihJ8edaEzpO93RR8SzduxbA8tniIEnZkQ8Qchm4v7bKW9uY+/iNH+RE0vYUBB/LMcGZxWJIdbBEj+pHbaZxxTghG8wd4G682gW3gTxSIwgB+5Mlgv+0B3C6C6PehfjW7z1HEwwiq/QM4PGbLQ+VkVyCgwS24sNGq7tLgkI3bKNDmSx9KgseCLEE1GfvNNrii0NmLi1YT6PhItPojhJz2lZNuaghaMDCnM11eZ2R1B2CvelXr+JYiZoUlRidUJEAf0L9+gZMbDjfzfw8lfaUgMsi5ewmNu2gsBIiAUIrg6iz7bw5u1Xkiu4PhZ5aubBtweC/fuaK2Yg+0YTDYKIWaun5NkJ/Y7l3iI1bvkhQP26ODUAqMTAZ1ZwmSYsWKIy+bk2mHNGqS35cPl3QhbHy7Uzzi9RD4gACBEVcOOZlxZFxtaH12QBbEskXyUWCFBXn2X1N11t9Drz6EQdRs254BkFhGqXwXLMfMjZVtJGUQrrLgKv5jLhfqxspgDerwWL7fk1s26a+iMR8bmz6gMigdqCbsld/xHahc/dVoPxW2qinSFKIVzHZUXncKYyZUyecfVdYPs3mCs0SPlRopC0udp0AqpCDa/Qdw3l8ZP74s0vsTw0miDByI4bqoN7UJ6Q982NBPWv/i9umABHgydWLREzdcY9jDTunSxk8ohP5m0xDKZEWtsE5cQC6sCVtpGx2zx2vdz35mGeMXmU3+EbNENczIV44WnXhJ3oSRUTPH34DjHdiF5MkHiy9TIX6hOnwaXdO3d7AzLIuMxIhrZa2tNu+ReC3GaUoxuaVcneV3rMoUYjo1+i7fceBfBC4q367AdN2QR5QCmJRwKCE0aJzMIT3EXerv3v6ndV0jG8FTUNMvlHZOu8N9wIM6oQ6pmIHsvVIUefbO77E5Ij/nQKAPlxsszT0PKp+xW5jGQbsQr4d6d0N2p71uNwysZekDHtA0vXUzEDwTB63V2Yf8L43x1y9XPSAbiGxCKaG2m85cocKmhILjhr3OgAbDOLKxP7/PUvYdW1ZF0n0YwgbrHFU0sEJoU7oyP5+07Zw2vgHQ4na6BqvHcwW5ghm8GM93HbWR+PrBLGETYAQBrNIZMIfz1PcmR6Mw3C3Vrcldz/j5ZPj0tqcUvfENgv+FmSdVjzqHdi2h4ct28cKgx1rZBlwfwWSVxaYYMAhOQGNZpLlK9HXw6146WvKovRxpcZT2386sPKweunNxf+qCcE1dM2EAy/sQJbjIAT52fgw84/s3PerjZxl53Rz8Gvq4mkWpKIEQ4LkelZOD+QSLDSNWGIGxsodcWccoxVreXMo85gLT2OOvF1Z7QUj6oAOi7z09R/9FOIuYsKALrIwLIlKuQ419904IKGIjSpJ7wANQ30zz0mnTGoa6SsCD+qPmw4raQaCUucHFHbYD2fTFZARmQjFzpECY/VnPQQiAsOj7xWH9v5xj+J98EnK9Hs+5B24Pi6CppQAZ4CMIPNman2fOMen8EBsMDyBT0uoFhwu5tiW01s29Rcr7m1KsQVptELVSSMvMzXLKAZvWLS34q3YOASCg4SfkfgIacHOp292MB+LOWUxbF4v6pHmte3QpumsnkXmXtITKuyfJo6C95Wqv3vpSw5Pksb48ByiXDIl0RxCisYTFGAycejfMA0zGGnmM+htu2NGOWpmLrh1rOPO9bgka4zjy2NMAWPppthPmaqp1KIlvrpXittztPYkRtRCxD/6N8BXUCq6WwiFdPFt6sz1Hz/8d1+6jQpbfuJrZy6WYd3AvMLakSR8DVZX+SLL01EAfT3r1Fkg2SqjFbT7fFliooZgn87a2tyBemWu/Z858Zk5zdsdhMQtLF8bYCvU2/xbYld7QMYfxV5zf2l4nJWOFG2L+dtJKatz5SCIn+N9RVRq1PhqSuWxlsM3yLzt6y6akhmjc55BwoFeoSuHmeL054/8/SGiIawkysxt8jyJENh6PWbzfmROqC/k/Fw4fGhjbP3F9Q71ptCNF8GKu0Fv1xXo551nW4u1j2mVNrWywRMxbAKU/elFyJJvR0W7UhavuRbsK2qtfcA5fmKSbofNI9p/iyhLr6eL4kp3HduAumT0CsRyjcqgEVw+vlZTd4G5XD2nAgXa3e/XHn2qq+AcaCtPGgA3jw09yZ3PKRn6458RMrgB0GcZb+2uI8CN8lT6+s1+neoFoRFylm1KClmSKfKngj4TJS9RIUPDQe4N3qp03i3kbka9JdCcOwMCbrVricc+3r34VyJMLrFRsN5DC5RRjykJoqQX4qmWR890qWOMQmwYK7HLbkNmHtZ7HfBsOZl6iN2QYiii1lEhHNEUST7jRlciUShc6cJSinaTgFGkLll+D3LkPHDgmQb3ygQ5B8JsdnaHTatGG1U+kpnf5h1j9a8zdvxiK9MHUTTGK04CifjMaQV+kQ+piWvE4xAhdNY+vckxzm8/zjsd8MDgphHIsFlNRylyyPJqVOLljKrMUJxxamsSMecfvBWHuegcNAzKW2+ToQ5ppYvUv4mpZ2/MW5ag/DCwwuCdXFIw2PZy9PGtcw1cfseNH9hdyWE6uFCdENQfGn/Sluaa9w/XDEsMZGktbhLhjTR+5QjIhQsdLPoXrX3+I/roHFQlIIqeUDWscs7854bwEe2pW10mzOhg4Tm0rA8ZwfXa5OwMwItFGfr1prvpJz7MMh8NQvOrgVQ7AiiUtBaH4kOKmoxEA5YJ72ameMxu4FBPF0x4C3N/9KReWjod0GBSXDgV49/uT9Rq/faLejFOLJj5KBUTLELM1qK5dRR5vwp2ld3S5n1qKDETJaW8+lpC2JOOi6SqlyR9941sf/cfTbp2kcwr3s8M2RJ1gJUL6RneCDHzY1gHmk6MxwUrHxmwH6XzKJIb3X1OdLFPAtX3a8ljitOGR2AAOrBi8TVvyP23oKzjO+cwKeR+JGZSwfqoZy2WbgfntZJhrssDnWKvTlAU+jVG604fKtk7jYN7S2TfIhwqAvCGxieInu173zPw8kmTygLl0k2dbdLQ55JEvhFftixGyQLUXleahH587LwCq6SRReEGcN/yjYN9cTmA6Jpk4l4cs/AAA3uvU1iHaIajUDgVdikK4lYh+XXqHMivMY1/BP45vQllbdSEfwpY1ukHjEVbWwzzTfZ/jtk6QyRKN2d4LCmcMm4M8f6tf9ETSEFqZx4nDUPnbIS/G97Rnxi0oL7Vk5prHrYrL3FR+PVS8vrlfEaXvPvjMkVlJUtafkUp0kYJ3x43aSS0KYl092KaOSQAmNP4gv9wla3NXE2PCqEt4VuaBoNUE+7dYkxfNQozmiyf7teEjaxitgRgzyqLPrVd9F1eeWwCVDtCjP2MvSV2iJ6fxAEuGy0w/BIN2sWywFfwtBZOEfzcpydSEGE8ova5YS1wFTEZtixbd2/IpcegkfNKw2nmEKJCUUUO2SlS+kpUBL65dvJ7sAKriQYfedpBJQQnkSeN0TqSH5TIwEyLMq1uaiS6uvQXYYP/UtRdMJVk0En7yElXA5xnvDfLapA1C7yPH+ekJjmGKTaJ+jBGL2jovpk82fZORWXJsfK0O098vhdo7yOuCW50qQxchfd/V+WNfR9ULvlHjSzyYtiz/ujAZQSoVrv8cgQZF/4lFM61uZKm58olk9uWuok8p+ya0CIq3njYJ3L3JBGkJcAYeZxcwNID+uFfeNLdzcawGh1qZeNlkSD12AO6nOWZ7tJldMdWMjAtsQ5NaWBaVCYOrVyC3VrG1VQlq75mkbWVnenM2nBfpGl4lirmEhDJaskGGbJwknQmJCqNjfz8vAwrIYSz75pG7dkB/96wrdOF+5ttLJ0tudnBo17I0rN6w3d9kGbIdS4UvC1ooj/+5/EFeZQnxRAmtbaif30szLZWajioKZGM0T62+pKdSkvQyFJCJ68HZISREv9urnYKetjgaEe84GGfv6qVshFbdCO88ZahxoT33eTsxXh9dl+uv7FbDbTi4Yhg+8PNIBT6nvHsAFB4yL/D7+oK56y5hRHBD5rTbQJ8hjduFPDLjHVnB3/QtCFbB6FAD4XHIF2FU9lPa3HOoEXOEcUbwkeQ1a6XE/HKgvvXRc/BS84BZN9u2vO5NexU+PeCR9DaL2/zr1wATR+3tjh3yY5Mc/4cEMOwsWnUZjErYMHHujNeIJXdQJjDpG1GQ/gLw4eXUNLeGSO5Zgz8LOPmZW1e5fYjMS0KDmjQlaa76J+iQ791AfeIgj9gR0FRsXpoO8vEP8TUvWZDwG54nzYy+gGfKqYqMlmnz5sBAfEGHmcoQRN66CrpMe1AvlUIzJif1Uj2Ynh2wiCJkcjD12xk9T9SaTbN9vd9Wa3atSOLPHn4F9Xg2Eri6TnsYC+j1HcqJNM7vGNO2E8OJnuxEV2RlPsKVedZicySgEgxwOnvBHpOlSYhuwLW1HJNEqtQ3YARoQRrKDYS2OYFnZSjNO97dpp+Z7+BFlLBw9qht/u92uHnLwlTxbXII7yrdpqzKsrPCe3vtI0uxxTkdPJeKUpOfxtQxUchf+aIQBSRaxLKjqQdhEiuQHLjUHuRo8iZ9Uq+mc0vkP8mweS1qecf2lcnSsWRy6wazJFzvu5M/hfq+GJC0UAnQFaj6Yqx7Ps0fpRMRruioUp9WWr9yn5DpBL8xNBqG0jBdr1C4wkrVgop4tn4LBAB1TNNwiw4SO7guAA3fmOTXGC/jWUBcVoXwVx1x9cgOFkQe3vSsodZ1fXyxuRvs9e7pQMt11KiCatt2FewbKqgMiZa0E67xfEzZJ9IiowBU1IxCh4uPCcCfOqyHilXHJsmckDG6dZEN6i9zNrmS5NhTC68pGN6wl8xDb9g0ljmYABjlGErdw8I97a9k8lZeSFz3iqyGAkW1RIj/o8yYTXX0/lqUcLyYXoDsd+PLfdmQIN5hfSOhw70faMx73qNKSzGirogv96cIxPlcbQgvoe2HrMHNQn+wFzt4sNSC1FAgXBG/Y+rqfXhEByxHHGUXowvoqnU94b/UomGVxy/BBtbEGB6Sj+/JRWok49xF/zOsUkYinp7pwGqhYplyb+wNe82rJZmy3gzFL4ylStCKSTIBhIMNaMPdfI2ANmwcE="/>
  <p:tag name="MEKKOXMLTAGS" val="1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PICTURE"/>
  <p:tag name="MEKKO" val="MekkoChart"/>
  <p:tag name="MEKKOEXCEL6" val="False"/>
  <p:tag name="MEKKOEXCEL7" val="False"/>
  <p:tag name="MEKKOEXCEL8" val="False"/>
  <p:tag name="MEKKOXML1" val="4HooU0THZk28POP9trq+pbTvvzd/gcV8t56cq85kb3NDTsUhojRA0EsgEHHMH7oYP1SYpn09ysXVivguJdhTvfyVMsBLTGvcX7WPTor/CmXfOtOhH41qEIghVTfcT6o7+LHxt2iMj4vD/tblS6qzJ/OHdSMGn80SAkSMQY+vPsTFBOXVu41tbu8+6L0VwS+f0YXQsvhOkAyC9Q3nWduexXP1SnER2NIGshevehlmtKd+FtrOgnYeeOJm2Vh5Ae+y+xKhASf/IvnVfgtmbX2MyuTiuvk7voq6Rh2cOkR96QxxeK5kgawCNtUErPBqWVpcRxY69QRqLYD0d/R3mcrF5ZRvjT9yV41bhvRjGKBaSy/m+yRT4frjCaxVaNKsjR/f1Ci1c8I//o14A6hkV/Ahy9HetNYWo059XhLhcsACwOVpCafS/IFD0uR0vAWLFyIUM6aAEu7CFhzTxULFIFHBcUkvz/C3WJ3lqHf5xkf5MvIrgCRY/QZC59BgzxwSxpecveb4Z7fyu70GTl803C8LKOyGneG8SAGpfUeG8WTp+d5apno3MIPTLE7KMQ9EsFFjSSMgMzKZME3yGQWBjFFq+K5RQO6jgOfolyWl07nDmyPLnzZXkljID715DP1QkKVGGBxtAPcMvXCINYfbJaxiZEuEmvozCcM+D78yCW1oGrDvzcCoi/iKNKwlNfiJrGiP2Wkv8vRA20li1rE20I55J6N+kzaqG/T4Tqbg7pBP1qvbkKy6QcLMq7p+Im/jISfubdkIrbLvoCnBp2UU8d18ME9B36SAu/nBq7uLY/5WAtn5fOEP5e1NXucBNp3eII85w+hQX2UDUVEhzDGT8Dykg1WTRgGSonSfZFQ1s3tfjsnmTz67295UGft4nhjFAAH+NCJj4gy+/o6Y1OuT07EDztA5Aa/KAfIeGjR0rj2KaXGj1gV/5e8bB5XkstaeOfZFMIZkWetP+FEoKHtHAfcRBO3Zze+canBqeIerfztf4hWZrWGaq0dnUJdSjcF+uuo9A5kHwK5FbbbIFEEYDTFaSxO89KA5YMKvwayObowmaY/RpVT7B/iiDfq2AUIrTlClahO01GFYawQj6vFBpSCYh+7CxHoa3pcm8UsH9hpdRx/A8RvFfWka6qQdWUjB/xIqy0wZFHzGLyeo5MKXRkblAUB9vFYt8xJ9BGEuAfgXHA7yvyWWamuFPhFCfctvBK6SnZSNh8ZOzzq6EDJco9UMX8Nyh3/b7CpYv43d/61qk0bm8DyV0nwxiGoe1m8DqKJneHRshFE7a26MWfy59pNOOGpjmxmTy4J0aJXWB4JlDfyEsQHvlAVArG9Rma9aSumVdSO97cL49ZBIlg7qQwcvhS0A4xDnAZapCfUJl+rRfxvvgSsI89Vbzo+Jv9A6R03uyG5VF0esZKY/FsXryYJwDGSQOVzkfhA0x6vOcysI8Z92jJwcdL2SUiGXPJPX0KDxCPU5kWTcszGXuycqMA/MA6Ao1n7/xR4r1m1K/5EbmPcr69mWePM944zsqps0T8WJcDT3SXnZZdZ3c6sZSv/9aQOP8HSN70+6Ubmt2FW8tmMlUw3URz67VKGgDOHFn9jgUh3bjVzDPua5wgfmv1/wAxrEG04V8F8MekjpA6GrXem3lkIfNSPzDzv2h6/OhhYYxLkXasxYMtuR2ARs8TOGXoRS1fs1dsXx1TsFdcx+RMwA8RhIGl56hpfhSQBERaK64Yapg7qOS/I9KL8WgVOsCSJ9Ty8PzeJfhG3EnI1HruQqHdXTJRPaaW7d3n0DtMuDh0ksG3gydSN+Fhc6JDFfd/Quoet/UEPtmqK1UhTG9HGSZPMAX3TIkivL+uUoh0fLor+dr+RBkN3tufL9O/uVklR75NaubomtyyZuKufQATwCmFdXpRKpvBFtpiXkkpAkgEK6d49aXDOQCWyzn+Tm87bT/lRPke29bvs3ez8LdR7vRxtzusDypJGdLO+HyEOHQ8AuPXFEPB+gTQUE4+OB9ZtbSu1jch5eY4M9ujzpBjLbtjficSQt4eTO1S0P/NExBEU9XcQRJ9xeceVnlXQri6fs/OKIuDA2rnjKnj3YYcOCpCB558CDG2iR2b3FPnBUVZ81hcVPnqTX8ALlNkpYisoSojqqtflBNErOVSgfFzNqbP2QJpjrDBBPX83szdMi0bznSSN0epFnfsZuE+avdj1985C3WoCK/ZqoYow8uYtLlByo6Xnj4EsJ0vNfo3lH0byniQzVU1xzMEDg2t+dps2zXCKOn5m4fOAVLW8SdnoByz6/nkqLPi6YRr3hSaHaCyTky5714LaMg8X8CL5QwTFYhRSJ7g5xpFwSErQ5C8rOv1mKUedUBunBYaTFwLVhkjPzPnOH3jvTe3BnrzJulW7sbtA5lfyVAQi0k2FcwAa1LJFivit+DYukqhLxKViitRbB/dGzlIbiz/rMtB5KPuICao3wPu4eq9BLNVzdZe1LqNvx6qYYXwF+MTZ7fB5qWG6u2ypCfstFovyCvPTzDd80q51QktaV2pjBDaAIpmDVohfoTo7j4oc4rSM8CpN1tV3GM/SQTFHoomzFaMc4susYmnsGlr5ezmfolvx4ckGpGPjSYBBKSmF12nMYtYTvaVdPrzO9MldfSH9PYYQZDU+fByb6ZlPNA/5DSaL8Lq0aLNA9YBOgaK42aWg4wFNz4AAH41JmiUWpvNeU9olphMhsNy4CulzETERD/Hs8R0SMp+T8+lRYWxA3Z3z3boj42Dxr/93KZWbXERd64/NTgbCKqBpKoTPDNFBkSDzYwa7wW9YHZSH1PlHAxzCBMKw4gED47CL9hC26OwUJG+IdMQ129qSJ71OkWxtbQf2cuwH/WplYXPvII9f/UXecT9JYQO26dzNbyr8vfjmGalrVPoZwBWiokCDdA3mKdb0WzLYTLzTGKMdCsB9EyE4kUf6z4wD5rYGle55yTNtJuKDdLJTqwi3aSImP/wcO+DM1VemTye/fp3PeDwnEDHsgfYJd7QFIFEBXIZRYj9T2vecLB1H1+1PZzDCuAXlRjag5o7aOxEoJxjydiqsBS0hASbpyItjro+xO5M5kXwxsHr+esJt1faapET9bEin9ZB5nutGCYQUPldafKbD1a+kr0OUYJ5vFRksyGqxsOnDmRS4DPIkN6cD41sceEsc//sj/L5EPw8YDjcm5qbIJieANSrxe7XIcMTT0ZnDNi5HfbgygiztA/7lWMmFVO8FzinbZkW/VeysXcHKJYcYm9MG6RbnCds/QQZHvPKLRpSOH1SqbwYghyES4CYQQ54temXhmCfgLCaiNomkuToWL7VPt2nJbwCkLAGAViKkTrZQwHFR1uqaWfxzCtpurLw5RwdHHUKmdLLKLEvNGSFI097U4D1Hp1IruR7BxPV/arm0/hMoQ3HPksmr5+jQ3oGcgyCUI9/VIDV5rXIkEfc5HXkiB3FNxi8M3V99uaf9CbswhhvW6n7vVL0peNenohyZRVUtIy08oCe8qAWIUoqnrO1B/tN8Tb9dABfRxmQ1KKUSiaTDox6Ej40/2plhDhiaosRXhoOwAah9bPMm13EjVxrVkN1mP6s48JbY8ZykWKxpdB32dEr6Wm6JmIAp111LQwHwZ1vKn3HGdEA5kDGPHn3rAz0TVvoN3QytGMn1r7+aR7hxtOjyeeWk4KTIuJmWNYvc6V9/MfXgv6QxIVLDIJw63VKmhxdgXu9Gr0HcU/FuwTXO5VLwsC/UtTan81Q8GQ/wX1YqovGytUK3IrpTDOsAv7hByNdsgLEWn/+mbVIIO3fTWEC0+X5Ht85NR34DIMHztHSbWxGxTu0zcD0+EoDcpA3rs2ITo4bMvx0hpHd9uspnDfT4VCsyqO+8dlr0vyos4kOnkiXJnsqjIlWgTAV8QDthZHJdvNDyZFNpScsy8xWnUtjBOdwuXeizzf6ZJpQjPdd7O7rUUsR0T61KhLKc0EewM/KZ9X4LP7Bf3H+hWwycChseOn9Ewm5X6be/iCclNgueBNRWANmQX+oUbChfV5sD4gdDfAaPyQxxAcX83M+4oWaxFJXCJlzvRBefQ0M258KagLy3+CvR5X7q4Zj943gH28D2kmkmwnAxnTon/z+ij8isWF4ynSnlC1OlJCp/qdMVeFqKGD2Lxq3d2wvFirL20+U9okfm4qddTLPAvw3HYUejJfSLjDqewV7WMljJSFiwT6+s+wsZYlSe7BIuqE+vHFKNJEPX5LpI7XqR7mV0SIw4BO4E2Zp0EwerMvmFk83oElxg6IQpV2S9FXHFkPHOmXolHD6UsY8mj4xbS7jaOv8b/u9ElS/LCmaq6FUUr/ejE4GdYD6GJKrNUvFgvIzly2kbk1U1WTANfKN2xV0BLVRNRi+OZKBjSiM0XvFVueF9kc3F2F5eAtVGkazNGZHOrnj60U/rgxgBZJpGvvpiUjUNKZpopbzj7oekfr8h3kGXSGEYXuaAoWlAyd9NwXas5f4HXMN9b+Vs/vEvylzBpqQznkXnlWh7RVPP/kYdMNomWqebKYrRFycB0PCtxVcRQ3D3e44PaLku+Mu7uscVBxy9Aaz+8nhA5KcSctKnu3P2NP/Hz2DGwPkupiX//ChOv1hfkh1OCiZXSSN7CJRpXuv1TeHMZkG7TUCKvARuZto9DQKimtDDvRwJiYLxTglQvqPUz2oyBZ8UVYEcDz4BLOiHrHLP1TegxbF8y1twgJvVlZE3erxkXDb8vibdp4ghQv0bLjIEh1aFqV6KlWngnU1chghOChp/RD0zSYynzP3vhFDso007k525nFfr+h1wP90s/theWsk8KBxOLS7BI2ncWiGJxWISlxbP/e2jnktvzsVzQ4HywemxTPoBLbRiujpCDYj5mHODxNIsGcwCwrOWc6egj4Fhm6cvHjmPq+C55+RPbJM0pzx1iIyRHsEunfgcJHQ+Pg3IgrlQUb+Ij2nkJAeXTjTkyQa6T8QF9rqzfNTrxdOLMktv61bAonkiLFL5PM77gX01rPWZW2fOxD82JJnKdoMhegKDgtqjNWiVIA5dEkKwrkaRpGCcHhORcE31KgcbWu6MZui0zm/K1cd1v5aLF37x1PVCVLNiGtHwrfByNSAUDLll9UgDpQ+UCYZvDB89hvh0Fz+I5eWJlcojwB/wouuoT1zMH9HY+upwdSwMhKuKBnRVwHLNv6seDdj3lwNlxV+E3+M5uBOELnlgC+7w3bpgXKXt1BvsZY4NhhWzpchRWfhFN/qR6zDPmNOYjmeiEe/oP/oQYDNH+pvLtc11FYdAwBLgoswxMnPMvu4Dhm5SCm380R0klidOCEo5Zr/gHmLzwqIrD+jioK0/A267fddYThlj+mkoq2pGgW2Ws3UClhgg3jxcx6OT1wMO7RSFsinSzH0+BpqRadC1xqd4WgGX29eqD5ZvMgRvsp32Z3eP1R1uU4tTerDHg1aWsPJts4Zw7WCQpbAE87gnICGGxvmPwpOpBpm4TyPTbHzHKG9FWxnScXsETWX5hlaBNEP78lMlqEdrQQsZ4WXCUJYUbWM9fcRtqeOJQQ+OA5CE+YUwdz2axMaE2CMQnDKA2UHQ75PVH+I94z+lVybRzDS9Dr7NMvn/N2vJ9o5g/QUpT3jf82u04WnHtaQm1vEJc8IbutHQfyJDPPn9rJG+r/l9cRkwcrUcQXMz5fiAFuch3fADsZ+uuvoyVGsI7lvOgQbqrs5JMzGrxyvZDuy/Lt/Zz0C2lCvm1sTt1OcFmb1gB0E2vEh9RS6Fuq0p/MyTtlZHq/44qbrAXwqdAQpqg20B6KpLXnkK9NSnkj4bPJGmXvvvWv4PJICJ6D50TbX0iVgqtFunEH37oHES5NrHGzAFhIkGxjgD+Ubz4jhr4UE+0SPE7BEsVvl0gCOks/Ws3Z2wvI3IFxmYgFW0kwT81FTAOKTz2AmO7+PBMfJN2AN2pujkt5VgLWEWeTDjI6VAOyGN1w1E0Ksr/6Fb++mk6uS64uDFu4Z5v7B57p/8xhE1bA3jsuvUaeb6v26VhT0cXfVkp973muNUU0rvWbvCRaBZMkOWtH/Wv+SHVkJfq2+7JXf4Q92qJJzVU2SK0ZjHUGxsVjXNh80vPGsqlGBH5c9DffuXpnK4k0X+2HM7g4Xjs1e8f+3bl37XFuHHPANwGsxDI9811MjTOkTj+KCOimrb0vF21lGz28EPlGsliPnvOaEjQyjovD+WutsG4xpFPU8AU9EKtALpLfuy+IWIABnu/mGTFU4HjGyi5J8WYovgBNeca0moIX00Sw4RVysTBr1E2IwoRFL5tEAXs1wA6w9kHXKDkeECmoof8Z40TdYnb6PHOl2omjFQz3uVX4Qh/WmOvDT0z5lBqR/WTMDoN5mrx7E10QOUkKXq52j+Z4p4mjRKfET9x7JZgL27PE9BAbMDDcUXk71/MhX6z7BoaNhv2NMG1S0qAzxc9T7CTm1PIr7HUzFjx5diqeDNjpljOomu6QofUcxQR+ZTjs9axGrfNoDzWJtvu1VF5AvD6Hg3gl1jLg+1fnhN5nYOp4bbHi7IIymhmyKCJaJ8vXiUmQzWcE4hAfQPUtirCmDMaXAVyaZBYpCj4FuJyqIBAG703AeJ3U7md4HEWjhSixinVzpzOea5nE/FGbxBpk3WP3iE0PqqUAO3k7t4R8yJ8vYBVLbZpAvVlEDNraCIos5BPZw9inikokQfTJUSof6AvK0mzGrBbLiygF6peBdCeUON+12BdA/+I3adiYaDb62UZ4P6IWkoQNtzdt44kD6nRjZ1AFKDeHrgUdB1t/4TSodbSMa6pdkWw8/89vP8keUMir1jZzDPhz0krMolns2t9112skmcAGMKB8tacF6wViheQR4+soX/3ExU+CuJaad5Qji9Y/lb/+oGbBSXTRt9WqGB2RDP8u+T2Hh5emoLySJQYLYCi+3+NwhllUhEkjfgbXfsIWKQJEaKcyq5TpfgSydkqyfHUPdhFe2RQ9U+sV+/fd4EZgSqkxJImNFwbdWswX5q3MIXrhOdRSS4ZlW7wUMsPYHYcs5hw+vPlhkAx/s+07BVhowR/QZWXFTgwn1KvRIeYo+0+TNnhYx5McszJfK2A65rTG++EL0egutVYu6Rd0dM4CBo478HIFLNV7nZXGlaWToQjQr5wvsAaXRzu3733sc62jnMvbhP/bZlc/IEDNu1VcADdc30cDARpKii1KcGdMhpSKg/LoTe7Jo7bB55/26RuGUZ0c4UO0wx038pEjhrCBoSdbLPQXI6g3kHiTzbwV1dFWwoX6GGJxdNkDEZZe2YvE8qEduySOIwOO8zSPTlKeiqJZvSq26sn8qlR1UHztKE0RAmbecCbVarp/O55NNHw2TRP/ZKFtxxy+hdroHH5SCNJpLSiYiVuKzE+HLS3YDbemev2V8faydVS9BrjVZGwJO55jfaBsdkmbsBn6PkdguhqWYmULmjrHoR4l0626cPy5yMkPs6rS6boDonwzdD0wAvvjajQfTz/kUr85DxuMEqUN/kPVEpXt2P0j4TVc6o7YUDXSfTLTI3HEprUgHfX2HziJfF53R5+MPKbheMFWOwPd6aEcfnKavdbev2I7+7bk4tS7NFxBPq3MlupP1ZMofpe6/bCDMAneS62aPYa96Wr6rB554b+ztZzxSiLrOHQLfpTJLs9yiT6UzGEj/yyTezTXkS0MMKBkSOmesqAYlwnY78FrtOaXexC9xS6ohoZC3K38LUopwFCs6mzvIIlYPZyOOvuyiB0I9YVqrFxRz/4KUtEPWqPm8MkKG78xVT8R1SKgXHzsMS5duHLXYr3ZVDmPD9HxA7n/pwN4sR/viXktu0jQjwEGtQF4sl9ZYKTPkgcHfqZiXrdRIOAJhZeBJncHf8OoFijrczyuLPPhf12TduWTYKKZZS8/nbfH4Guc5jCszx2yyysCMuOL5y44Mub0o2EAcD7+RiS2hMmRL97VOJLXY6Jr28r4kSbva6WulQt93HughyB6Q7jySWERB6M/4JFCoBoMNb8GWd7mtVYoYKwstTosKXPHEMwmvU7NZ/KOQIcUUJKjqfwmD9u1gdUuudHVZ32VY+iEM/v4KdelAKCovtqXbiYp5guiUAwlR5kgAxlSygY6OtRRZzi+gTErXjUqvFhJYtEDDx2GqI8ckzpUQaDgTb/V0MVmZowj1HP4tMOeIOfbAsARLADMbD/j+UwMsIQWtrv5BkysDwkGhNEiX+jKWMt3Pc6QpxIpHKCS9Ep/npAL3mkt+V+x9SFdZfC/x0cIUUB0aRdK9rcl+APi7tv/qMWD3jnxarv046AXAAT5EjtLu58omE9/odoz7szV4/qKUKNzfVJyg3bIggnMW0OzlwFVVhuUxM+yhRwnnImMoh2+WLCK3JmkXHuJUIgAKlMkjIeegG444R+pXkjNMNTJsLAUIGb9jJJcUYlfFVzBlqwDIBRHQnOaJfr6VRYH0Uze4XtTCOX0io43kl+76vHWdSpmlyyuOBk4G+Vj+QWNoqXPmJcY0tOCEkNCA+tD3JCO5FzTDgb61XK3SXTIy3NBEyot/3m4fqRn8mZk5SR+cQAh0O7ERFlXUtPfJxhQPr9mTv3IJP4mRMAKJvhc4gaJwwu2YwmDPPDAx1DSwtFTZpNAPruKt8yTePo81OHd86XIyLyb0MPttIKE5Bm8p1ljcwwKS/EDCnReZ3y0FfxIj5cMRvmnHPemLKS2S+Nw8fNEiB33XKrLeMgdO17znhJfjAM37rtYTK3/XC8iQsiBbgcpzyQFac1MO4Oi1H/FvmmwLZWT+ufZNW8tCeDJQJR/VxSyAHjZbe13PJ1Qi8TmNuACKj7sFJfZDEHJFA/NHUZhJbfTRgb3CJeZtI6MofqEkEhCUHDBk9BDwa4iI0Ygcd/FQT9rOjimuDBV4asugeHkSW0d6SG/4XPptHmuL+jvgQIPZQyurnUxS4fzHdsxyg56ioj931befyzmkchSth7Ftg/oVTJv+G8Xrbn+T6wUO40qBMTsK41ec48sq2SS8XyQl8MM12kwIMiGpa60LVtjCZ/H/t/vLepyueH0s9JaAfa6enene0RYnJ+sgvMsFgSxBdtzmA+Fc/saxmLb9A9aP4la3oRi1ykv/tb8nhtXzYbNkej6JompnGKSsAXjeDHEF/73tVslUwPFRhq4BsYYQimGhgymktyvpZPRGviQbqxcIVbtAOFbkXR+Y9sYKMzyVF8bSg73JdQ8I2JCKOGegUXMg7oNw8mdv3ToO7++BoBejxjVPt1cPp+cP4pcaEDq9VrYhsRj+DtjMrEd3n6unh0+mnu8zAMjkkY3IwREpf05eCdqmHsslJ1MP55G5210ukyBCo66FeLFkMn9HeshqMbAqS462xUxoGBdElcVd3RarxokE6dw+SZrER8U7Osm/ra+W2s5SaGg9Q0zczlq8r5wVMGUXNOrWbUvCe0Jrdmwa8kc5JFVLX2SPFaYq2StnUMCl4G9aDGRojGLAUZi6kQi493dyaF4/nMRtiEXpkUEwOqIFBExc/j6wTU367mGsUiX8iz1HwhGCyAV2V6b2d70rkzSCOimn7wM6ri6hdSiMARdCKMDEl+vEFost0LwiUnV9JhYjuUJsEdSN6xj27RxOYke6ZUP/lIjbqtsDWPGfaGVeCGHWW7ubqBBGu1sl78CQhutBGUasqwx5k0pE7FPqLomhcn5vD2SQFCgYPyecPKysZaimfvXYtOMNLLd6eWm3HIdXLhLyWcNasnKx9Qe0l3DOO6/cQxbUd+AoQErHYlhA+LgJxEKncJwkcQ0xqIiWsNDgLBJjrHt+Onp+enjKxfElmbmcX3TB+P/Mhv6Hge84J8lgOVM07+XpgH7zlNawJcS3re18IZBfgnPi+tu2uhj9JyAAVF6rvCetntaJHjRSP+jEzA7sfOjENvKHp/GXpHLToItOUdBBsCzY7fSCYMk3X8W/l5oCoIyW5pOOTcFwyQzFBKcLTpTNmTvbNSVHzqpYcijCU0XRZDtFq5g+Wbpz2tWVoyZf6+PynpDYdQV9zHzE7eH20cgyXtm/YIB4+yq1Rl4M2lUa/cFjgh7iNgKBh9QBg5DFmj6V1VoaBecQP7veZi+9Myw2Z4ujmHbpowNdKCh014nvPzLJhrfCbUWeggOQCXW31VmZBTIPQCpVb/uCCQPR5agqvxJ3YP+esasQFVt12gqFCZPmPd153ROzOfsoIOXH84Psd29YeDMPBNJ5GyOTWuz0dDIoNswFdgnX/laLIGpeUiaH8231AuotXX0GttyVVQRrsuQBEegZXIOpYFs/aBvbab4RqrjgozCUUlv4voS6K+M8hXYj05nUsdG3gmPiw4sv6VmJeStYrOUJew5nnQv5g0rnC+NO402khV5IPCVUpd4ASpDOWNYmCy46uW6gGo3+qA3u+PoWqdRL3GyvjRLufVIEn18HeniY+wK+Lhn0EjC0HYpOwz6b4+xRJmu5uJGkaA4c+QEkk/9/ZZ4l3CBVNYYAueu+SsvtyddQHt0eukefttxloX6FV+msqQfNvyiiu6HlsaCfNuBr5JBUmncpE6amSL6CQuIr2Epw+KLy2DOUIEHO/du/56R0Pg8mlpqovCloGbAzrvLYhmS/+uVkf2Wi4KzbOfwGg+BFVOLDojyWRmqkxYmmIAcW8qFyCxw6xTKSpQKA81NyNQKp4z7Exvex8rDI9VJfimDbs7uqvnaCQh3S0Flp49B9NU2x1J8qi8n6OfeMGUAd7PqpWcWYR7HefVBZM+9ZwEkimKrmSkCgJh9f9rbbJKKllmQ8xUrj7/ix28Es1dLkyPHa3Y2Sc0ZGeWkIKzRnAARGd43hqkGHKCQ8tHU5TOKmnhC/WysffBnKdJiR+tWVumtV0GRUeEjnl4k0FRBCci6zP/ADo3RbdQ5hfPuJ5qN82wUyvQdJ+5/zHxdyOiBrXO3nqRFsSZYP4reiGozLzQnUbXqIGTj1mYpHFPoa/ykTIh7146gydT5S+yeSr0PDGRXDr4ubBvzUdFHVWJ0Qsw8D6NZvyt9iKlV8XlznULHB15X+H9wap2UZYAh6SD5KysmeVpq2QN6lWDN0a6a/vDX83SZ+hEMxi78XC6g6P+U0vAV3CEMZT4X+e9CzEl3n43QY3bipHvbdgxscYOkBbcIzPZgRCsjviItKtIq4KRsK7gs3eTee0yrOWzzvDufUEB/jSytF6+VWeQwZQTpxZkjpFCO8ublnHNGVc16Hjgev9YFK6TnJf2wFY1Fn/1ARLDd0iLAWM2q202Qlv0lTaY6GYY8sKH8dGdRwOuBpgFzT485l8FDJbjtX5F81fupUjkIFImGTCkAmJjHG1MFHvx+MLOl7ZTzY26S6hazsx5dmXDcuLLQTqLJI1Ysz2acLNhPBP/uskBdSfDmhyXA2xWyIOFPS4i0ocxok+WWjJXvSt+7tlFcqCMY9FhOT9smV54oIRoCmFrFDeV0Sr1m6XJeBWNoU+UGTmwAbjG3ImECL02rOckoCQyYONgKZv/5qAgUWlQGdb+dIkwfra+Ff8j8Y+wynl2JP0rR3mic9npje0NCPdAdXv3Yxd3Zk+POAtyFmLwbp8KfXP+pRq852JCURNcSk3dh0gexPE9JCb4RCWgR+/euqX3tCGhPzX7MrQMq3CdoohBqj64DD3+UvwsxM5bd00zb2dwPWPAMpk0Tfw53JyOZOGVLVqUNpexUmSp+rWoIGrGUFT+GSik4PNKbIV5FVpEPMZ8/nZGkh1Y/51rrW7JwJ4gQKpryb/7M+upOtmnrhAPzJKzV0RypU5c9pKSVhPOBu4GP9PeE4kFm7x87GqLq6P9neuZZzgADzgyunyFwRDHhKVie7kKDU1VTzmCBYo8lC5d6VF/ZCfnnNe9Z2zxFEyrkjHQ4JK+cXig4nU82mQin/2BoPcT7GNbvnDpdWsETg8wrMSaLoy4ySQwCtXMIPaCnItNTc6EXF4dIWGiS3KZFk3wcWgZ0RR2iIdzYk9PZ7wT6D4Xgts52nX7UdjBB7uqjC6yWL4tO+doFAlD4qAwznnxao7CHGc3EYLT29tgEJ29N1WtDWiexEbB4JEWLudhH23wxSXy7wDyj6hlI/tr5Uh1T+GfmWhkuNAxB8PWf9xRNAKY+X906J7a1rJJ+xu0iBG0VTIw7ckmzpiF2R610JoIKccTiIX2UpJPoUEbAGqC36vxMfZaGj6lUMLGLXhvldITPd93033Si87NQ97FlXnEhO+KiPr7dZ8coJzXUccAET9nPLEqzE35X9CoplPhrIF3RMyqijGdA7NX4AsUv27AOs3yj9sTnXXVlNKRN5B55GGWj17JgKfAf1FhWopYfPd0YOPgRm6Fayickh79Sfy5ygFkfwYO9gca0kigL/cdgG3EMsrtU2wChN52cu2LqB7x52caLykM9cyfpweLzPSz637xIR1FZVSDN/0B6kUiXLE2IhzmyAq2kRpnsp5Xu8sTaELAEgnnSEXqs9E9I2KVZZYy2IByipRHJAEjUMX93bxfLsiCmZQgaQt2QAFLC+CeBOSJhbRNimv/1v1sMfUcsssTsRZBfchaXFJhDYjF139Bxf3lp5ZTKgCNgbsR/xqxPTduPQm9KrLSLuJWcVN7iekVDudAnJa9s4eO+vJN1BFY34GJZf+WI/kxm1CAi5A5oH7Bowf6ayw1/CmUSl14X/D2/x4rD3FIKAaSh3U87Jj/LcAvBWhDPZY9f7Kh2c5hWFilTWRd2p7q3Shy0OHrURxRU7+suo1GCnusS2ydMwry7CWoMuEMokaScFwD3yjfUm9OZ/q7ctyEEfE2g82AdG1olHgwbZVo5nh+NxIiksGjFlglmUCFKIpCO2A34UbxWl4iVVkHCUhtZUWKGWsNa8RSpL03jsHYFQD6IlFczUThUxESEeo8/eVwnFHP3zP5cVymIGh7LZMbidL+Tkj1PIYkPUEkpxT1Fc5ggVbR/z4L1D83FLlXZScjk4PDUvV5B0TdTV1mul41PgvNcOnjs9KVkryX8meNMutEcYzK/KLxJC8KRXPXzoszDADk/8MQP39Nbg1H5iqtZA0EH6dS2QtUlHCLSXOJay4HuycLslzYmoAW05CTt6XJ9Jvve4SKXSmdBQWHoFri9hP4BKWkS8l5kzPFVFx67n3X7ThA0cVLvu1KxuOC01aqDOMTF9ZJFdULd1rn28iwWLpgOgRSR632kMiieiYg//LvkI3iCyLJKGcXH4W8jmMyW2z4FQgW/xKmLLneNRKkdE6hSk3hx1dIOPRJ6LewjL9QhhQo4+khacf8LzxQCyJG70camiJWjEt821OFgt9bO5KKzyL7dFjQ8wLhepM8G3VZ3KF+Byg0TC1+l7tFPwn18Rp2fuwS7sQ5+gSyY2IptanlYoaTURPFKpa8PfzjbKxhmuAi4MyBGPUqY09UNQeCt+76aRGexm0/u1Tamq98MzyphbQawYCrecuuCQ9d4Rz9WFDWI2e8SKUbTUDC8CX3TdvA0MxkZGTTJPQ4C52XvZA4ZDsbuOYTeVsOP1yWo4GW35Q0GiMtZlBzVSF/+D+bGHG17S0HEkDZ+tRtEvWV1WfRAw+3HfbtRfAFviTtdCWxBl0BzawXqvKcprc6ttEXcC2PJY24NLT3iZXV7hpGupugS/nd2B5t8U01uYuht2j4RQ6Ec/TPN9nyTlSTzLFmN/Cbl1K3zsNbsdKdwbeStZudG+HdwXILDH5GbXMtKxvHH1XBq+6nQbQaAtAcZNhfgNlpPlTZf983NSHshWSDbvTrre7+qv8iz3uUxCCju+SHRYhrXQDo5+aO7mFz8bRl1kDa11f0gkUKp/LRFX1xlunq/Zi+lklPNgtcVdHNsCwThe76a7LQZ7PpNA0YBAM1bUcyck8upolqqFrohOEDkU/VYWjybT1Aa/c0DFARV6VD48czVUkPT/pFS6G3ZrToawU4oAALldUVQ/4TttqtoRPXIeA7PTH+zeMQybCv6aZ+DVk2buxCNB2I0MgCh3wJYgtUNsTorKoGA+/ojNA5OxcflXEV8h4ft90foXc+2qD9qRAqTLRAOvc1tU3zovzaBpoxVByg19wn8yP8G57UFCgJTDNCD7piszCDCN//uI1QfVILCOTs7kcb2u2S48YS/3s5X7FZGBwPiAT5BYb6ay9VrpDMotzpskdUOI/DlHrzZupORj5N3bmdieDHIj9IuW6FplEeA6s1sxoGIXM5oMc4KFdR8TW+2croig1YjULw6xlc/B4W/kQygC/Ay/mGeK3cuzTNpYwkiv2F9aSjTIjnJRjDvoDQ/ksecMrVLXIN6nAN2mCrmXLKpUPyvCxwbQBQ85wDkv81+5SQXHLRzHhAeayEi39tzbieB4IBlzlTn5MgrjU/FK+0o5L4WT78fbZbspdxa+A+ajSuEixlwRBiBRkOSRLH1mWPMdaOF8DXEYNYIEiMkfcc0KSsyzNg8exAD49DX9wS0naih/6zOqEwxi+imTnXfeQuWk8A+zBd0jG5hwatRXMP0dq4LBsLKGh5ZOYMhQgcjm4XPwts0JwHp/deY9LYnD0zXpsAgmS8zaqTleq/j5YELuhCKFmHQV/5bieD4VfcTj9jIqsKPMHPF9QXzfSM20/d+96y0uQ1PtL5hkJKDnwfInMQzYs/4y9KOb+XNCQZS1+8ja144a7/8SO16M6m/msOeq0F53XL8FG0/2FLSnImYG5Whau/0Ft0q+OhlSsbB8I2w2KNvVZsMyAg6MVh194whjoqsWluTtxRpFvZMe1ov4C+/9WWyqBywAmCd91UiEyJh1W/lCiPSUYxe2Q+alxGXKRI2UPJluKg3zBrOPefEuFjS+4SVr2NgGSORSxVnpeGVHmDTfCb+zK/5vqGn/tg+I8fe9onqJnBvUkeCP7yU4+rze65gRspo9JQqFQNoFuei6ZUcJ0aVF4Tg/gxzYYHxNrBSBQ2d4ihfaTLO2CJsZKGs/CGJnFRPrP72s/Qr+N1wqNMLq58nCckDcxwgRdZp0oXGFYT+RK5y+aQXLlrUsRRnJsJhJ99aXov5xfkPTzY9RTcaXtQ7NZjVlZirlB5fk1GplhcPNVbJBnV9QfnuKSRXgPTb3C8XUPM/7JM/KI7ROnCkifXK6OcZvt0LT8gd1+xHGqIGNpR2JecR0XBvEa52dGnmmw5Vagefoiv0wT/gI7/XbPS6aI9mvdbtPATDPPyeGrWTaRpFynmBX2+hUCNkgnC6Ci5MNtYYUffyIzXL4UCWkTnadn7csJnpo3uurCWLkO5J73sb4hNXgLbJXc0S65ev/yJqROHjyz/ICP+apsKDBM1FyjxBVoDGnpXNZanAtUecfYAQ7hAuaHw1g5feT6TUGt3F4SHdnoB7urWEECFBNlbZZRt+bu+yFy+ZmG7TZpwNDEt6Y/v4YEmiXpFe0MK5V2JkuusHldJAESaYErKT33x8T8/DhnCRMaap2tC5flCqeSN6bh3+FfdkNG2n4MrEh95EaQdye4lX4I8X6Y281sOMcx4zwJrpJj/JrYSZaU3f6q5xmEuQCcOnKmvTlFjW5zYl79L8Kd3/lEfRSReRPUCdo9Y0ooMV+/EmqiehTuODysOu3Fqa0NoLOPmD9F+Fb8O2+eQj+piMh56P2qIlDB69qkz0Rmbm5bWeAKdyXQeJ5p7Nr07MNpxh9GgIDZJ9zyK/FMNCHYIu1GrhCG/JIGPmV+cZX0VrahX3DTrqSkkJ+RuY8AK+4kLRXSf2GDIMI2GTBFqPgYF8HX2oicGsVmemLwcGk0D4JCH77VGg+N8F9J6YpjKajMcDywbrg+tXdRA764XJkFeqXRwb3dhkocM9MI1LHrxsTYAh89wrP8cbpHSqEc/MvM3X8lQK1rqjG+kkCiS63LZr7LHB8GQvnwpqwzgV/7UqDr75pZlxhDwjGxliieDF4yVLAIohgXh+AHiJGXOFq/YqdRIuqwj3FA5cGo5uWop42a8xPhBXToNnp0FuDhUjPAXA+t4BWAFqt6RTGelUOFrIOggKL24/lP/qRU6ktmrjmj9/g187sQ47BYuf5ZOIS4yetXojmxVxftG/nl1hqFOLH7WobcplhWcJY0VOBEGQkWWu8W8Bd3gwix1JsFlICZLKgipSdLtwPPG1BPSimpfqOFtuiimdIYS/eS1+ChtOFrZW01LWbHDgNpHOyVHLWroYcUsFo2AO9MmBj5mj99C3kpb1ubDJq+fMClhu0/qghJONCe/TT0RdpXEvArBAtN2WPw6g0LXdUDFNKrTLV0XSTu088SH/JJCglw2zrGMrskELmw0dG/Kx122rOR8qbrseSM/kYVu5vZqY5w3HK5xllY/DWwM8/enCpogbt97N8WoQ24XjIrxe6dxbUYHPKw9Uek7jGGWVV26yCRtGaVgD6OjZKo+y5SrozKYH/kq0qpXpQrqLtv2cEiSLdRA51ptB/xvTnbeSlhOkZwsSOWgJHyxEOJjGx/9fqIM+2w9fIrOVfGhXezEWJaIDUQkeaVpNxUU8d6Gf3zYTn4mL7+1cB/Cdipx9bL7Hhn/wUtabAVgI1QrpKqQwFkgVzi7tINfbbrPuqj3yW5Zu/LEWqgg2N0qMuj0ZuogEBdkeKLXT6vva22B8fw7qP4czdBplC6wkNDtcXwUejHeUU4Ai/4id2EyfPx93s5Zp2vL6Ol0ObA9xyRaLJ68o9ijNWuAx3syQa3JTsfWItg25fGDGv6LIsgzIJCSs10dsfQsfiXQbTwA7fGOX4h29TMmlrnhfbN/AjINMM36Wt4Tj488vlHtNfTorJZA47g4Lmd+D0S6r6mR3cIhRBKglTZ4HbjxHx1reyufh1gtfajDEU/pOUjcylRxg9R94HU="/>
  <p:tag name="MEKKOXMLTAGS" val="1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PICTURE"/>
  <p:tag name="MEKKO" val="MekkoChart"/>
  <p:tag name="MEKKOEXCEL6" val="False"/>
  <p:tag name="MEKKOEXCEL7" val="False"/>
  <p:tag name="MEKKOEXCEL8" val="False"/>
  <p:tag name="MEKKOXML1" val="4HooU0THZk28POP9trq+pbTvvzd/gcV8t56cq85kb3NDTsUhojRA0EsgEHHMH7oYP1SYpn09ysXVivguJdhTvfyVMsBLTGvcX7WPTor/CmXfOtOhH41qEIghVTfcT6o7+LHxt2iMj4vD/tblS6qzJ/gMcPCGrbvVDHAA21UQtxjiIUqba8bxYpIy0ufKDgD5XDCDe+RVNlFbJpcVRItRb19Hi89qJjTD9ipKC/dBBdkNW3cqqxFriNY2B7W3+bXVxpcBJ3WxE9+VOtV8Tm585I32tmAWsi3qBeXb5MtO78ZlEar+3ePvZm/eKkNj3/PmkC7+73A7e2tVVjZSW+pEyY6MjjSb/fYuKUlYdpc2J851EWCgPDEiElWg1WnTjQz/WMaup5Ox8HzXdYPaLQY02tr4lIE0usFqpPEw0kAWDWcYjok4eOt9EVw073UTlngHofjai/ToWfbOdqm9oJ+6oBsKJmgHTVcOIle7J4AIEpuHvG496en+iGEM42uyGNLEqbn/rPWm0HFHWjW0Im8qDo6T8JJ9MWVWo4V8z3dk3rdbfoA2HYq2DBgvzZkfLx9gCBRe86WwP4H9AdJdrwdxn6062SwJZOuuDM7FKpom23pQmAMT8fVEQMZ5nfNHKlsxO32tA24iC9KE2fUQHr43WCNmPQ3UrwI9v6UFRZaJjaHxr01WyN84IaIGAZGAhvotQ+cGVocnPcLjdKmDHgpA9rhuVpmOTiCpcCNFBvgcsG6Ib4ANMZsQKVZ47CYExh19qoxwWNSPo1YIIDHI4I/ASIu4EEwTMbXhFzEDEOT/VhWr8+8bc5m1iTZwyQi5V/Q0v809OEI0PpTK6Uuu9K8tNZg70ktmBWitAuifLIZ850dgWGJyZTfWMALVQrZ5+lR8M1rpcrfSIx7r9r0Ys44VTE8UZ5z9yZ09DkafpeluiUVTt4lvCS72fjk/07CCQZbw7KhJer5LbcO2JTm7+8AeLJIWFJwSuGmJhnSbw5gd0lgL3v3PtOf+wqGOqxi0mmw3xjqeVj4h/QoWtn+hs7tvBTKFZShDE0AxDgwvuiebdAdMXcoRUNmiQuj4wt0IidIqb+d+4frMlqBTVajvW0HsPpdnb770vb4xXDVM630EeVrdqW4bYdm2x0q3+b+qP9elSlWXmMac7baQq5esLVccYY2dyOezz8sY1c2eaieGhhZIjuJabUs12zoBg8lSki7lMrP1U3ni1i0Xhltvz0jYyeXyaT0U/eajGr+Om7kiWBVU8FWYalkdu3nR9AF4X52WIX0zBhqu0Hb+EAtTPmJJhaXu+SlQ2Gyydsbjiu7vEgq2pT58ItcjA7npZg0xrxNqH9W9B4vHm1vuNQ7LrUn3Fml59hn7JKZaXQ7f7RhXyN2+VqNdpe5WEnANPQ0FnZWqjkTBx2e99WUypKj5Uj9UAl/4deao8gsRReE+dZZlkStvIBYuKYzsJ/dF6AVekHviq/NWXCuKzEHYGkdNbGKoMhHmMNTBYESwwBj7QrbK93p90Pfg/uCHGzz7neKbB9o0KfF9/ZN3rIGL7JFsXZ7IhuzjXEBgZF7BeaSt3HzA9eiitSEFqA3T2a0w8SS/kilaY6BliDzvwvws8bwOaAZIYAC/uF0b/11p1J8xWKYxZMS11UdRFFVdqLE3JsVTZeTiXY7iQNBdetg+dR3gV76TI89YUcg+v3OVuVRDZ4WDRhgqPnRXNleJPUPMNdJ0/YJG17E1qWwQoIjUNzbZsSAeZ5epgbynL/bhID5s7RbEic+13zifMCGAHklvqgGzAt3+Z5Rus+UutYvG27RJ26tqW2gFF1o+GJ0JWy/T70yod0qfc8+349gm4Q5YBWiL8QregrtyxWsvdPbXqsMX+kE1TBcgcBXp2nGsRVMOvuI8XguseXS1lbzYyjr/Cy6nVg+vmnbIRstXGHiE5O+UaAi6f9RrCOb3waKOHzdRaGzIeVswut9HmOfFruTWNzHx/gOhmY475o3/ZPXrFhu2IJmXJnVMxAzg48QBbr3UcjMjV+hcxSOrRgqyTKNaCZksWkZ+gMoxJAsWRTPdr3vdvk8lZ+UKJ4alRqNRzDEfC1CvE+MznjMe6zbzQXOGUZulSITU+CMk/uYaR4UpzDyuRCpBiQfJIoiYxyDG53JEOwEVYC4GOK3vjXd0TlhLGnED+rRIb2A0d550EwrjD9MF7g+Ip8LuA9x44OsFnugBOFOlm4JUHG7483XgMEiIDPqsVrH3LjdkmzWKKS5LC2IFeorhFWzp2lM00C2Gcn/mXUd3TESSIOXOif2mbcTPgsqB1iBhTcvS/DU5uQ05wHY9vATGXht+yhxpimfdF0wyR8di4Obq/4CMyPa5t3/qdlu+0wmZcw35+6lJLPUGjqBxDbLfLKjwqn6tnzAvUz2aduEHjWGGne9HD/7hsVe2DzuFGxntUjmQ+ZIOIFdpwQ0gzV8P0JLeYGBKQKYLTOydkrR6c1DqvEaAG9gYqTA96BEcb7Yc12vOycY/cUG9ly87j9RaTC+9BeT7Y8Lv3/wQqtPK4aCiRMNxWW5pvukDVnVq7lo86pyCKpaAloY5xZ2DlavY7gVySAhwdKcNA+QxV/ATymoFMTNOyRMiqks9ED/4TqfKSop+9gEmPmqNGRLzRiGtws+dR5G1lyKbH11PtgTm0E4rvC/Tu4olOYsBAqXIktowBXk8MPXn1i4LcUvbMfUF5PT01Cr4zlNegqOzym/BlpQTEKOwajkN6gnxgqitrndz043fs8bYcwv8k4sQQG7NDdVQUNinWybpgei8DRhqnQcwbQuqVStbF21p4gl7eVKGY7/jQAxiWL6HdfC92bzZPAllpec8tKGR0YGrKwPrNbtqSUJh8i8KYed2aZ9ohoByqeqh8yFVxQdRIsPZy2B+XQivJifIB1SVJRtPE4bI4b05rL7s+MG7n44NPHQqFmabUCiHhmbynxQ2F1f0OTCzlmrA5I2fm4xmdaaWpTBu1poumoKCVtwmcdRdf+z76yoqr3/aHancvZjH9ydkoM2Od/cBfej+EiiPBW6V4kLrWERCWY5S49K5Sfm/UR4LFPodSPvAWoFh6I7JrvFC6g91H6lyXHHuoew+4HdbJXv9QPQUJ4dGKW4N0vH+kNoBFmveC6DtT00KoRneP+YzWZH1z9GH6FO9reUDDtQ0ZjW7sy2yC3C5UH9kyclY/wTLRW+8JJ4FEhAWasLMpoKfMYx773NWX5gQrQSExZttWrR/LkdnzCM8KppFTqYrPxuBC0g9MN9rWKlbSkjHXuOeOXsAOAFpF2/R68QhpSh9kkYs1fkOAsDN3ntinQMmLej1uCsuewK4UCVO2Gh4Ei9VUWMJViK7nz8kmqwtBAEhdgLk1lKsoBkFEnCXBDkIl1snY/TUqTCazxj7xuzwDtDvZwRl08/wYHXGM8b+car/jMO0yA7i/qwbp3DnXGhbBR35oSUNtkwK/V3X4+aG9z+kAgf3DKYGItU5RcqHaG2jiG9uAenjk2dm6WdEdcuIlNRchwdcJqf1IquRW6iP1HAystGukA/pkelXQr3ylipRz0KDbIhTqXGakZBYqtHbZytN4ExONTKa8cllptSued5kkZGXTHFZ0Tim6ix0WynuVR9v4/wxivIH8gJXrPBDuhyn4Pbxss0NHhMZv0D/eVcGRgfAY37Pgc+2Zq59V1Bksm6wfhc+2Biq0rh4n0cqS7UQ6onL40HUl9R86UWwhZMK7bH+1Jsj8gEYudP8dyYF0CnWhHp3eG+Pa+Pg0liy5Q0O/E3i6RDkwXpVF9TyCKOQHEB9VYOZujz5kyGSteu26464jmZm8G+5QZTEhKigrI9fjaLGr84+2PKkxqdvStxyWsS/POo4QVO7eZabm9uLre3ooplzT7OJDGs5GAvTYEHxekTBnyPQ8F9k1RLCvfJfyWGQ/wdHtDREyce5XAMgee6KPsEPVm3vFEXzjKF3khIYYab59LWx8OSr51M3Wd3BCOlvStITEyVxsxnW3T86neC83/lSW52o5/c2fcMMy1wG8xTj1Zrxi8UI8ZbQNlHBlT/REEHSevpkFEUf7XoGr3NKT8lFoA6G599Ju2A16rpOixQRFwW0YWIEwIUhDG4WI1NXNKRyYBly052UAHo6BDw7vR4H/mFH0/togVLdIldh3przPWeqAiRgtmg9nXKeTEcm+OB0mwFiiz++NhV1+i0mko6nLouh949xNvg9TNHc0rEBMkaJPGe6CLjdtpqQqjc5bF8ca/9HSv1SCaPk3XIUVhCqT/hTvnCmtuLQT5NLjZDlMJIRf6SHL7nib3QBFsFf4lhYoKG001zjxF2PxV8swEv1NwPyCBbJTnnmV3bDjeL6otCCtOoheaWWtTUbImZxW1t1qocgIj/ztuAG2Nbx+18EL7i+OEWWA104TrAq/yJiozhh0tgUv0XsbCVjfR8e0Ay/gAWhPVvBKCGcGUzS4sOmTGywciQ0dwYGzKiRjdZdCWV3W6iMN55+bXFYWII+JvxsZCreU9/PRSzyvaN8mp9JGY16dW2SciFGnG5wZZlqtQVjXSw1+yyyaa55CY9k0kdtkzCQBruXXXQ2H3CUBveWWiC8ly8qQ23TPwxvo1C1MCgp+jq5ReEJ/A3k2ThlBf3pnduWKkYNRDru8Z63SnMbvaRWtIEYHZ0Wpom2AtMYhJ+bzIjxoP350DO9T1ogZ2vbi6yEtF0b8KR1hDkZH3IepL6S/5O623GgCpJK8fKLpvPPdReoQrIZzW9cP4NfdUYoh/J8Ex2SdwTrVtzWmja0juS6g+y/yuX2dPfedYf0AXNiCSO2bvZzBMaSNKeMW8h3DjEH8NdFP/ldnX9AIz/rtp1f5oYjsiUXfbMo1WgY6RkLzTIeUqzESyyvaclscYmqD2/hZaWJSyirF6+rnYUbvQJ1A5Cb3pCk0M8/N2JA7yG7vxqorFZ032XMvBOG7Ut7IdAcF6PdhA/YC9Ak+laZVrua9CvJWddlM62OKY+pg6/vsKSOyS5rBSgZDLmsRiJjah5tAgG0gj+XyGQ53wFV5Rjjr2z0slW+yySQ628Y9lnzqWNOp5a3fD+CKIPdiS+mZv8R+Z8Iyjmftinl/ecGanHoqQfJlNsQLtjolAVzPPvCFdeKh/BPcr10P/yVq4TAfvDA4m+bK4sT/m/hwVizWEQVvxQvEm/jOhBzPNr8vU5rIYdRklinIHEQwc+tILCaJvgpdmcfpbfSiqCW95ii2VSH9J3WuvqC54hfAG2toTdC6EKIGu3jBVwHORf7VZ4H5dbI4Tn9pt2ILlzVsSaeW/iLZNC8Xz8JPanyP+xQh69BlMt+oRf2tdt8/zVrGdXJMbEQRyVRV1/3pFXRlv8J9ODQdVbe7v0Z95dfac/Iv9qYK0LRQghkS1RvbaDLfzWDFBsJP+OC3/FeczDO1XlJhQCeAwyEZ6kfAxu5QSt9tGe436T7MRuKC3l7wHeOY0qq2Rjue1L3yvbEdFYmi1y2mEnU/SKaczsOGMWI8uIfkxCLrSfD3hK2AvjVHM5tTdIIZlJkLNnshhz5mdzfy+xBrJ+4y1JnqjrmjqBml/k2JXfYYPg9D9kIwRxDSpzq4Avbdx9NMrDqYz8t9Oykv5bP1pQyv5scjXQdFfrvp8T5iSu/LCKoWvtRKLVJtc60na8ZyFcphcmG5Xz0URGfclgM6xV15fMKEMd1bFo4GOABgexspgdI4K+wAOr2qm6MMmBnkXI7Rq5RJkzOqAEyBi6PWE6j8O/UBSiVqmKDjTjxq1VTfNPrqnIFxxNGmNcDadqnfNZ2u7xEQamXsgfUxeormSvfNm14aY9xi6dYePhqShNe10j9RnWNvxA2vSVsJCW5it/pNwpicqa3qqan1hU8c9TNx14OxHqv2WImjfXTNE+w9XRkiiqT6rJZMYJfYfWhQBmcPK6Ls6XSOZS5BLCDn+CdABnD6shYv8+ElEuDSOtX9lJ2jyymUQSh4dVI7C7ZAD1lEGKhiCbRl0ns7HvQBsgGf4YVIdYJDlDxiKgf5pWv9/jRI5qkXuTjRK2tIBPRgiPxAzhi2iTpp4B0RLEyWziP5hkM71jRnRHUR1OXQYFJIfQiom13YK6xmm+l5eqcydSSkS+Vh6qUI7pvDWMHFmkj5LF41qGQwhSKv2ABca3Y1zqf/oelYJoTVmkc6MLjKDn8PsfJcbD2TanHNF0OjN+44L0YD9nVpX13wUcBZ09GWcfq+drbkqA5LeULA1UAp+kYU2r4JpWN3ZpE7PfvWP0FHQn/dAUc+D3M6f13/mowKazFM5emHd5Y3gvAW4LYBeKzhdbwuwFR+kiJiYzoBX7RAijug1qEm3kFnoDViqEI9y/+gU+gVMiuykEXLOLg1JcU5u5USsnj39khc5qxV8hN8BO5mZjPWNJi4wshKYoVgcZoN6RZFcjjmVxu8wqzVzWrhUoGIkQCIvHyCgdYo8QI043Weye6qlLn0UstwhGRfOLPx1cBBTRsEQso4eviBcrKdwYebzZfoEmRcJbZN+Eh9ApFKQk0QKp5v8lDDrVyEFyuGk9SE4YuYpJGktv9L+Jic2YdOBv+BquesDLZMvHGX2QnmZQpgjOk7MvPwv3dTPt5IJGe6xosRhXnmMe20QTsDbeMvMW6/XgBA0xHV6ocfPXi/PvbYrAmELxL0dlkzzHL/EC6mF2+8kPPlRpaQ4bnqwqUlqv4wJKTkjovZngoqHDWiSPcaR2MIx3A2huL8TmvfVQaEozhlA6oTALPDQmLTs5Ajl6c0ad7bPh75QXWuhFlSIUxhdZZwlM4r7+nQDytzu1W1C+cMvIm8gowr5h17oxGTmjFJD5XAy/zE2eO25LMJtFCvAKepthgaD0tnNBh6wN4d3KuTR4mC25AAJJeSu/kqTUJ/H1wSmz/uQ7+Xa2E9wPZVyWcQK2afGD+X5Y9tsoliQXi+Uv20fZlafyvSlMqI6dIdVQhGFS/oSsWP4H580nvjXIvB2SQsOJxf0oPPVzWoBgKDvG2sf1uRn9oyD7U9oTAp1AkaL28shYYGKBPetADaxsJCAAY2o+8VsZ1YFq+yA0CNgKzaa8zDKR0h+jzZAF24KyCRjQSixlwJlAJCaqgD+9JeFrl13+OzrcEz3C4ze7JKv2mCvtvYHx8zcwl1bNSxw2Ky3FvQqlC8lPviL2K5IoquPzfuxwtmcCU9Sq/Y5iojv+f0W8eoSLOkJA9Ss5J0Ko14e1J01zm0Mda4+STmyz6riTMAsURPZiHQ1Q9za0QPtuytcbDk2I394Uk77SsagxmFGI8O8mnuxK8MbHGoO6fnE5emrjPZsFLbVUF5/uMKShs9UwD8juoFyzB0KkrNanOoflmNqIULxLaRbc2PuoXP2ltjd4i+qdA8mT18EtNia/xaXmZQbCkpUR9ajSk3YUPiOEE3R9ye1fyuIPRUuVPhmn4D51GJVTb5y6PNEvX8yichHbdUyuHINPbVbw2PIxawPMuoUDJvogFY/vxXuX68rJZzdPC2eJhTibBM4GPMWl41YX7OuSX+ndwKTrT/kOAcESMUm3D/dsf9v4WfEKCjHlrsd3EYlN2RVKOfuryszWPbeaHGM3Qgy80UyBNv1imroIsW9J6tJ1ufsnOw6n4rhgNjGyVbFYjZXCHY22wMsdK2M93Creu8RtDyRCXJzIZyI5pTPz8KX2zN1YVkSx7qNBfKF3pd13HWucP/LlQyKNyy7TEL7SJpUbsdsdXglsJeTGbRh8PHC4yCrsEsFJpLqrLh60xVdoAjJO+LerubXDo/jS2nB8oIuMESesziUCJGBIbLwyXyDNKBh8lC1/WvVApCUeW1qXxOnEz/gM2Jl41ZYoKvSjEFWYv3bnz8CM413HTNN5tvdkc6k1X8ymlM1zQPRdcskS6zoiib2+URLHX0hjexj1I8BAAGRBI4pGeshYQexjOewgBrVydrR1GN2RTgQG6QFmqC3GdfnBQ3irEyid3fHeB8e+1amzUkrBv4pswFadVCCVJ28hgxrrZRqXoZkSvakT0k+2PO2YbLcGcbjNR4F7VvhH5boL+iRv2fIC1GFRW0N65ax8spUodGikOvIcnxD1pcj7EYYyyGnHlJwBi6EolaOEy7nLTgm34/Yfono3DAPNSLfwDKonYpQggcf0Ux9IqduDIqXOz8oVwONOU13NTQgGtEOKCevJDlyIUwQxOscXXo4B9u38rwurdCFz96cKKb9hCjthlcfFoBTFp6QkEvFqwdFj2IPoaZcX538TTRynBH4YxYjnzk9Zlq23Y/j1hWdmTMaayfVvgkabLSGQ3PlGihchU4XqXA24uvYdLlyGtrI+RfhujOp5NzkmUr/yzyJY/IBx7NWETUaf0TFu6udnfBBgIQqfNFr0FT23yWMngEs3GoNHSV+uKCd94rSAkcxZStKN8vXk5m0UO7w3X/06xzBX7FIli79JxYKrX2Ul48SXwI+S93b7jKQzeDeyfEH9fp+T2ZSHtaYOpsRbUiyDhQctq86jUbpsYHvjGcOnHbvj5D2CxmuwwCA7DlqGzIrvguJ3THkDDYy8rD7DvSAbdUenCJIcHlat7+C5srSaU67Njg1G9prB132+jubSGdS0s5oH2JgMX2bqLnmR6l+GW/aCDjRW4WIH1NfvNRUei+ncGArswRnCOe2x/sZ1tWw9Vy/NrvaA0JDmTXZnByaOjyKPZ27ROUifBTeP/nampA36yKKJoS2/q3bMQWo7hahpLlaCJXMvUYkk04YWKJBCkM4PIfEMJOlEO8jb6UubFO8MY/QvsPZKyppb5Tw9wSapdxxewbD5zVrYeI6rT6D5w1+XBpV0z9iOcynXGk/fNphm6EVLCz0R9CaDsS6MrCeDlTTnR1gChhYdTtzjijd8Vc8sJVKE07NTzShHUXOaqE62d0BgcvbQsG+3ZWIdOJLB37byhcuu3Ub5MvRO7VdyuJy474MG7zoCa6XTC8PrMTde5p2RwWIqP4GOG0sE2PrOPOFq3R8rOTPZQrsl4AY4OfOnKEzQ3qF9BYJcjBNN4lzyXRPrPuU3H8LyQsXj23RyYa3/QhUr0rcsoZHNPAW9Z2pQDkeoHO3eCDEg+r0q0/uo7fY6/L6+cv3Y4mpuhkVG/AbmGY0R/Cw2SxUiX41rC7lzwdv21aOTAUd2BB1ASryfizum01q6IZLHI34GsPPmA5CJJ27n+g7W32NFFLu7bHjN8jhujFJoY6cBxoo/Dr+hkauxJhsTFraInZPl0U3KnfvmtEDPEKjrOl9WhFDv1i3vZdXFiAh07tevOT2RQa4BFz5i0Q1Ad6P8SxdYFOMj7poJdR0Vd8/FpA8jK+ybF+rnMrfsRI2MLPHWWXUkdrk5c0IYFR6yMPnkhw7wZfGsdTtusp0ORbWlJkR9FM4XWFYeIjTJbLOtp9nvQSWwDNB2eIw+zb/OBfDrycYHBzSgGCN3FVUHIw9W9PblmBZnLG6RBbcTw87BQL+FI4RDDvKELZhhCB48e6foVpx3ZHK+QX88SwttAOozKZAW1HNMHMJN106SwOX8XL/0cD4vgCl08WaRCmeWSY0LPDR3FreO+B6eVrHROEb8O2eGWyvmJFnlw8PD9Q0oCKHeaOMGSuc/O0Jn1ntgu0/5wYhrPBl6gehAqkiNBhA4T5v63QD/aw75vl3VZtCzEMCA4sUhgJaVyaDYx2G0LQEb5mCylT//zvyReMxK77nyHIt1DWby3MCxDQW+CZcc2cKfkPxfkUdc4PABAdYwG/IZ5GiWrucbjwkMkqplYGaN6yDoNSTdBVHY55IvpW1+Yn+Hla2kj8Llx/yIeU1sVHc1njTj6rLH6vwSZQfsRK/HPI9CA0rXYKAjsBCBUa/NSA3AH0DGyCmQZBPgcqY5TEJik914ZdGpbFAhlaIEgnopCBSIkLvFUdY4YzI4BP+4vokavJuSc2OXYr2pyQAW6ELp9Bf6mPx8y/K2FztYEiw9H1oJsglcFCNLWkRixNRU2XNrC6vl2b6TpSaQE7AraVZ+hJ0truR4YwxBgZslfy0UbqdadaiQ3yVlwJJjI57a3MeXlceNAt9kVAJwjJd2UPI5Ri7gaajfOFosCgLfaye2NIQOZUED8xVXidI9n3aZcZcOfkO3k/zYeU6C6KWD+poVGpeNojpswO7t+v/krITI+D++gwF5mJqEiU3xk0CaSeWdm1zgyy20VJHqbztkJFcmo84rwVprlSlIWTnklh2uJ4bs6Sxv3InW6wH0qd6cJQAA0vwkdbBziw/mK7Qk2RtjFN2ptSm3KhDw2xMRB3mBX3CoggKz/pWFVZ4qTrIJj7Smd2B65n8PtukNBhJPPykwU0ZTEU0wkLFhXUoGjxGhfVvRUJ1l9Ml4eGrvECNkJ1YV4e2Nja108Z8Tc/WYjiHQC5wI0Q2ZqPlTZC5CopRZWKsGFmENJNL6xq9T9Z7DjXwOBfl6ZIhJymcBAe8QdzrU4mUBfn/OHZKf2cWvRNhOTSNH8Ft6oveaV6Bl2vFsDb0KmXjmDqybQC9hi8JmNxPyDxZaEBwwChEaJh7J12bwwpByiEK0IIHsE31PGIEwk4ji4M0il5hH8/hRDX0d9pPeqj+QvIm2EY7UJdamJelfkXULZEpHRJxQbgUqewdRRpakhBiZcTWIxMoZM4NVeSjHSTHEhf+vdV2wLWR3c5+NfTFnRqwOfgP88n4Ersbhpa9mU7qDCTjhMx+sx+NdifgKpyxvyFwLHYAoSYV8yAdaFL2hhuuSRaa1P2pRQoJUo8U9wuPO2gUFwCnxsitO62PfjDnOiCbYv9EXsZgMgwRmwIYl7a4zM+zB4HjjN1V72gsM7doHkxuuzqgEBVM+hmGcVkq52oXwZHyie/80bjHDhESA3FK4oLf4IQYPdmX908Eorj4hwwVX40xZFXFSWWsu4MsvJHPn3TWCKm5DvIoIsi/p2b6eTxyV+tyF+LyWPXa2VqOjxbu668Sljv8TbffEXrb/JCzsEumHunhcqE0h7ebhlIa6q41gBTswoPyJE7lWBzn9VEhj7JhkFSG3qJUyJ7mNPRWxrFCLzIDlEBkn7oTXwGpeiOLQXtUS400G5wr8h1DO+NMYRSGGH5UV5mvmnRd08F3SqFAiQv2SbMRFyVk2+zE1Pf1HTofVNvFtxHgiXW3uYk/AzcrlWjOzMAdcN3IT+jOoEzpa2DpgkYOgatEHL67VJpk914+YYdMdfSojBi4mhX05PUPHJWMKEpAmUFkyQhVbM+bs4lavo1FZib4/V2hzlvaO4yWj80YmvU00fw1N3n7V6H0GDNVQ2AdT0oULf6zLqf2snUwhzBJySrBXiVTrjCAMrZYu+Ja+8RHDUZ86Y0qDbqNnwILFcGx795xXdaKde6KDTwLCBWC4pLzaJYZZWt19eNVaNgUDKECEVU+By+FszFjyfPSqDICv5gCrOsyc81pPmK2kYIIcxyEtYW5WxCU/qmXW7hAVEWrsC46Ha0y5NR3PwlkXZm0ztardvFfF9B8oHfxQrQByuKwiRIM97sZJ1elcaNr5AZymZAbzk++oGhrGH+/6IsD1Edw4rDFg0h1tqfb8oZ+0qXEIdrQU0qgeTz3w6AGt4nzUAwk2MgJnuc7j4LB8vFQOU17BptTPMZV7Ft8OwJzBu7oBbGwFn6ExUCNYZZ53+oEQ7U6qC9BBqiDMLwisvoKNNGV7QVmGG+AehysSnQLejDEeoaTgb6V9m1+hkpQjLnPTIhZiZT3WTzzRPSLVZTgVhMPfpOkc+rfihJ8edaEzpO93RR8SzduxbA8tniIEnZkQ8Qchm4v7bKW9uY+/iNH+RE0vYUBB/LMcGZxWJIdbBEj+pHbaZxxTghG8wd4G682gW3gTxSIwgB+5Mlgv+0B3C6C6PehfjW7z1HEwwiq/QM4PGbLQ+VkVyCgwS24sNGq7tLgkI3bKNDmSx9KgseCLEE1GfvNNrii0NmLi1YT6PhItPojhJz2lZNuaghaMDCnM11eZ2R1B2CvelXr+JYiZoUlRidUJEAf0L9+gZMbDjfzfw8lfaUgMsi5ewmNu2gsBIiAUIrg6iz7bw5u1Xkiu4PhZ5aubBtweC/fuaK2Yg+0YTDYKIWaun5NkJ/Y7l3iI1bvkhQP26ODUAqMTAZ1ZwmSYsWKIy+bk2mHNGqS35cPl3QhbHy7Uzzi9RD4gACBEVcOOZlxZFxtaH12QBbEskXyUWCFBXn2X1N11t9Drz6EQdRs254BkFhGqXwXLMfMjZVtJGUQrrLgKv5jLhfqxspgDerwWL7fk1s26a+iMR8bmz6gMigdqCbsld/xHahc/dVoPxW2qinSFKIVzHZUXncKYyZUyecfVdYPs3mCs0SPlRopC0udp0AqpCDa/Qdw3l8ZP74s0vsTw0miDByI4bqoN7UJ6Q982NBPWv/i9umABHgydWLREzdcY9jDTunSxk8ohP5m0xDKZEWtsE5cQC6sCVtpGx2zx2vdz35mGeMXmU3+EbNENczIV44WnXhJ3oSRUTPH34DjHdiF5MkHiy9TIX6hOnwaXdO3d7AzLIuMxIhrZa2tNu+ReC3GaUoxuaVcneV3rMoUYjo1+i7fceBfBC4q367AdN2QR5QCmJRwKCE0aJzMIT3EXerv3v6ndV0jG8FTUNMvlHZOu8N9wIM6oQ6pmIHsvVIUefbO77E5Ij/nQKAPlxsszT0PKp+xW5jGQbsQr4d6d0N2p71uNwysZekDHtA0vXUzEDwTB63V2Yf8L43x1y9XPSAbiGxCKaG2m85cocKmhILjhr3OgAbDOLKxP7/PUvYdW1ZF0n0YwgbrHFU0sEJoU7oyP5+07Zw2vgHQ4na6BqvHcwW5ghm8GM93HbWR+PrBLGETYAQBrNIZMIfz1PcmR6Mw3C3Vrcldz/j5ZPj0tqcUvfENgv+FmSdVjzqHdi2h4ct28cKgx1rZBlwfwWSVxaYYMAhOQGNZpLlK9HXw6146WvKovRxpcZT2386sPKweunNxf+qCcE1dM2EAy/sQJbjIAT52fgw84/s3PerjZxl53Rz8Gvq4mkWpKIEQ4LkelZOD+QSLDSNWGIGxsodcWccoxVreXMo85gLT2OOvF1Z7QUj6oAOi7z09R/9FOIuYsKALrIwLIlKuQ419904IKGIjSpJ7wANQ30zz0mnTGoa6SsCD+qPmw4raQaCUucHFHbYD2fTFZARmQjFzpECY/VnPQQiAsOj7xWH9v5xj+J98EnK9Hs+5B24Pi6CppQAZ4CMIPNman2fOMen8EBsMDyBT0uoFhwu5tiW01s29Rcr7m1KsQVptELVSSMvMzXLKAZvWLS34q3YOASCg4SfkfgIacHOp292MB+LOWUxbF4v6pHmte3QpumsnkXmXtITKuyfJo6C95Wqv3vpSw5Pksb48ByiXDIl0RxCisYTFGAycejfMA0zGGnmM+htu2NGOWpmLrh1rOPO9bgka4zjy2NMAWPppthPmaqp1KIlvrpXittztPYkRtRCxD/6N8BXUCq6WwiFdPFt6sz1Hz/8d1+6jQpbfuJrZy6WYd3AvMLakSR8DVZX+SLL01EAfT3r1Fkg2SqjFbT7fFliooZgn87a2tyBemWu/Z858Zk5zdsdhMQtLF8bYCvU2/xbYld7QMYfxV5zf2l4nJWOFG2L+dtJKatz5SCIn+N9RVRq1PhqSuWxlsM3yLzt6y6akhmjc55BwoFeoSuHmeL054/8/SGiIawkysxt8jyJENh6PWbzfmROqC/k/Fw4fGhjbP3F9Q71ptCNF8GKu0Fv1xXo551nW4u1j2mVNrWywRMxbAKU/elFyJJvR0W7UhavuRbsK2qtfcA5fmKSbofNI9p/iyhLr6eL4kp3HduAumT0CsRyjcqgEVw+vlZTd4G5XD2nAgXa3e/XHn2qq+AcaCtPGgA3jw09yZ3PKRn6458RMrgB0GcZb+2uI8CN8lT6+s1+neoFoRFylm1KClmSKfKngj4TJS9RIUPDQe4N3qp03i3kbka9JdCcOwMCbrVricc+3r34VyJMLrFRsN5DC5RRjykJoqQX4qmWR890qWOMQmwYK7HLbkNmHtZ7HfBsOZl6iN2QYiii1lEhHNEUST7jRlciUShc6cJSinaTgFGkLll+D3LkPHDgmQb3ygQ5B8JsdnaHTatGG1U+kpnf5h1j9a8zdvxiK9MHUTTGK04CifjMaQV+kQ+piWvE4xAhdNY+vckxzm8/zjsd8MDgphHIsFlNRylyyPJqVOLljKrMUJxxamsSMecfvBWHuegcNAzKW2+ToQ5ppYvUv4mpZ2/MW5ag/DCwwuCdXFIw2PZy9PGtcw1cfseNH9hdyWE6uFCdENQfGn/Sluaa9w/XDEsMZGktbhLhjTR+5QjIhQsdLPoXrX3+I/roHFQlIIqeUDWscs7854bwEe2pW10mzOhg4Tm0rA8ZwfXa5OwMwItFGfr1prvpJz7MMh8NQvOrgVQ7AiiUtBaH4kOKmoxEA5YJ72ameMxu4FBPF0x4C3N/9KReWjod0GBSXDgV49/uT9Rq/faLejFOLJj5KBUTLELM1qK5dRR5vwp2ld3S5n1qKDETJaW8+lpC2JOOi6SqlyR9941sf/cfTbp2kcwr3s8M2RJ1gJUL6RneCDHzY1gHmk6MxwUrHxmwH6XzKJIb3X1OdLFPAtX3a8ljitOGR2AAOrBi8TVvyP23oKzjO+cwKeR+JGZSwfqoZy2WbgfntZJhrssDnWKvTlAU+jVG604fKtk7jYN7S2TfIhwqAvCGxieInu173zPw8kmTygLl0k2dbdLQ55JEvhFftixGyQLUXleahH587LwCq6SRReEGcN/yjYN9cTmA6Jpk4l4cs/AAA3uvU1iHaIajUDgVdikK4lYh+XXqHMivMY1/BP45vQllbdSEfwpY1ukHjEVbWwzzTfZ/jtk6QyRKN2d4LCmcMm4M8f6tf9ETSEFqZx4nDUPnbIS/G97Rnxi0oL7Vk5prHrYrL3FR+PVS8vrlfEaXvPvjMkVlJUtafkUp0kYJ3x43aSS0KYl092KaOSQAmNP4gv9wla3NXE2PCqEt4VuaBoNUE+7dYkxfNQozmiyf7teEjaxitgRgzyqLPrVd9F1eeWwCVDtCjP2MvSV2iJ6fxAEuGy0w/BIN2sWywFfwtBZOEfzcpydSEGE8ova5YS1wFTEZtixbd2/IpcegkfNKw2nmEKJCUUUO2SlS+kpUBL65dvJ7sAKriQYfedpBJQQnkSeN0TqSH5TIwEyLMq1uaiS6uvQXYYP/UtRdMJVk0En7yElXA5xnvDfLapA1C7yPH+ekJjmGKTaJ+jBGL2jovpk82fZORWXJsfK0O098vhdo7yOuCW50qQxchfd/V+WNfR9ULvlHjSzyYtiz/ujAZQSoVrv8cgQZF/4lFM61uZKm58olk9uWuok8p+ya0CIq3njYJ3L3JBGkJcAYeZxcwNID+uFfeNLdzcawGh1qZeNlkSD12AO6nOWZ7tJldMdWMjAtsQ5NaWBaVCYOrVyC3VrG1VQlq75mkbWVnenM2nBfpGl4lirmEhDJaskGGbJwknQmJCqNjfz8vAwrIYSz75pG7dkB/96wrdOF+5ttLJ0tudnBo17I0rN6w3d9kGbIdS4UvC1ooj/+5/EFeZQnxRAmtbaif30szLZWajioKZGM0T62+pKdSkvQyFJCJ68HZISREv9urnYKetjgaEe84GGfv6qVshFbdCO88ZahxoT33eTsxXh9dl+uv7FbDbTi4Yhg+8PNIBT6nvHsAFB4yL/D7+oK56y5hRHBD5rTbQJ8hjduFPDLjHVnB3/QtCFbB6FAD4XHIF2FU9lPa3HOoEXOEcUbwkeQ1a6XE/HKgvvXRc/BS84BZN9u2vO5NexU+PeCR9DaL2/zr1wATR+3tjh3yY5Mc/4cEMOwsWnUZjErYMHHujNeIJXdQJjDpG1GQ/gLw4eXUNLeGSO5Zgz8LOPmZW1e5fYjMS0KDmjQlaa76J+iQ791AfeIgj9gR0FRsXpoO8vEP8TUvWZDwG54nzYy+gGfKqYqMlmnz5sBAfEGHmcoQRN66CrpMe1AvlUIzJif1Uj2Ynh2wiCJkcjD12xk9T9SaTbN9vd9Wa3atSOLPHn4F9Xg2Eri6TnsYC+j1HcqJNM7vGNO2E8OJnuxEV2RlPsKVedZicySgEgxwOnvBHpOlSYhuwLW1HJNEqtQ3YARoQRrKDYS2OYFnZSjNO97dpp+Z7+BFlLBw9qht/u92uHnLwlTxbXII7yrdpqzKsrPCe3vtI0uxxTkdPJeKUpOfxtQxUchf+aIQBSRaxLKjqQdhEiuQHLjUHuRo8iZ9Uq+mc0vkP8mweS1qecf2lcnSsWRy6wazJFzvu5M/hfq+GJC0UAnQFaj6Yqx7Ps0fpRMRruioUp9WWr9yn5DpBL8xNBqG0jBdr1C4wkrVgop4tn4LBAB1TNNwiw4SO7guAA3fmOTXGC/jWUBcVoXwVx1x9cgOFkQe3vSsodZ1fXyxuRvs9e7pQMt11KiCatt2FewbKqgMiZa0E67xfEzZJ9IiowBU1IxCh4uPCcCfOqyHilXHJsmckDG6dZEN6i9zNrmS5NhTC68pGN6wl8xDb9g0ljmYABjlGErdw8I97a9k8lZeSFz3iqyGAkW1RIj/o8yYTXX0/lqUcLyYXoDsd+PLfdmQIN5hfSOhw70faMx73qNKSzGirogv96cIxPlcbQgvoe2HrMHNQn+wFzt4sNSC1FAgXBG/Y+rqfXhEByxHHGUXowvoqnU94b/UomGVxy/BBtbEGB6Sj+/JRWok49xF/zOsUkYinp7pwGqhYplyb+wNe82rJZmy3gzFL4ylStCKSTIBhIMNaMPdfI2ANmwcE="/>
  <p:tag name="MEKKOXMLTAGS" val="1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PICTURE"/>
  <p:tag name="MEKKO" val="MekkoChart"/>
  <p:tag name="MEKKOEXCEL6" val="False"/>
  <p:tag name="MEKKOEXCEL7" val="False"/>
  <p:tag name="MEKKOEXCEL8" val="False"/>
  <p:tag name="MEKKOXML1" val="4HooU0THZk28POP9trq+pbTvvzd/gcV8t56cq85kb3NDTsUhojRA0EsgEHHMH7oYP1SYpn09ysXVivguJdhTvfyVMsBLTGvcX7WPTor/CmXfOtOhH41qEIghVTfcT6o7+LHxt2iMj4vD/tblS6qzJ/OHdSMGn80SAkSMQY+vPsTFBOXVu41tbu8+6L0VwS+f0YXQsvhOkAyC9Q3nWduexXP1SnER2NIGshevehlmtKd+FtrOgnYeeOJm2Vh5Ae+y+xKhASf/IvnVfgtmbX2MyuTiuvk7voq6Rh2cOkR96QxxeK5kgawCNtUErPBqWVpcRxY69QRqLYD0d/R3mcrF5ZRvjT9yV41bhvRjGKBaSy/m+yRT4frjCaxVaNKsjR/f1Ci1c8I//o14A6hkV/Ahy9HetNYWo059XhLhcsACwOVpCafS/IFD0uR0vAWLFyIUM6aAEu7CFhzTxULFIFHBcUkvz/C3WJ3lqHf5xkf5MvIrgCRY/QZC59BgzxwSxpecveb4Z7fyu70GTl803C8LKOyGneG8SAGpfUeG8WTp+d5apno3MIPTLE7KMQ9EsFFjSSMgMzKZME3yGQWBjFFq+K5RQO6jgOfolyWl07nDmyPLnzZXkljID715DP1QkKVGGBxtAPcMvXCINYfbJaxiZEuEmvozCcM+D78yCW1oGrDvzcCoi/iKNKwlNfiJrGiP2Wkv8vRA20li1rE20I55J6N+kzaqG/T4Tqbg7pBP1qvbkKy6QcLMq7p+Im/jISfubdkIrbLvoCnBp2UU8d18ME9B36SAu/nBq7uLY/5WAtn5fOEP5e1NXucBNp3eII85w+hQX2UDUVEhzDGT8Dykg1WTRgGSonSfZFQ1s3tfjsnmTz67295UGft4nhjFAAH+NCJj4gy+/o6Y1OuT07EDztA5Aa/KAfIeGjR0rj2KaXGj1gV/5e8bB5XkstaeOfZFMIZkWetP+FEoKHtHAfcRBO3Zze+canBqeIerfztf4hWZrWGaq0dnUJdSjcF+uuo9A5kHwK5FbbbIFEEYDTFaSxO89KA5YMKvwayObowmaY/RpVT7B/iiDfq2AUIrTlClahO01GFYawQj6vFBpSCYh+7CxHoa3pcm8UsH9hpdRx/A8RvFfWka6qQdWUjB/xIqy0wZFHzGLyeo5MKXRkblAUB9vFYt8xJ9BGEuAfgXHA7yvyWWamuFPhFCfctvBK6SnZSNh8ZOzzq6EDJco9UMX8Nyh3/b7CpYv43d/61qk0bm8DyV0nwxiGoe1m8DqKJneHRshFE7a26MWfy59pNOOGpjmxmTy4J0aJXWB4JlDfyEsQHvlAVArG9Rma9aSumVdSO97cL49ZBIlg7qQwcvhS0A4xDnAZapCfUJl+rRfxvvgSsI89Vbzo+Jv9A6R03uyG5VF0esZKY/FsXryYJwDGSQOVzkfhA0x6vOcysI8Z92jJwcdL2SUiGXPJPX0KDxCPU5kWTcszGXuycqMA/MA6Ao1n7/xR4r1m1K/5EbmPcr69mWePM944zsqps0T8WJcDT3SXnZZdZ3c6sZSv/9aQOP8HSN70+6Ubmt2FW8tmMlUw3URz67VKGgDOHFn9jgUh3bjVzDPua5wgfmv1/wAxrEG04V8F8MekjpA6GrXem3lkIfNSPzDzv2h6/OhhYYxLkXasxYMtuR2ARs8TOGXoRS1fs1dsXx1TsFdcx+RMwA8RhIGl56hpfhSQBERaK64Yapg7qOS/I9KL8WgVOsCSJ9Ty8PzeJfhG3EnI1HruQqHdXTJRPaaW7d3n0DtMuDh0ksG3gydSN+Fhc6JDFfd/Quoet/UEPtmqK1UhTG9HGSZPMAX3TIkivL+uUoh0fLor+dr+RBkN3tufL9O/uVklR75NaubomtyyZuKufQATwCmFdXpRKpvBFtpiXkkpAkgEK6d49aXDOQCWyzn+Tm87bT/lRPke29bvs3ez8LdR7vRxtzusDypJGdLO+HyEOHQ8AuPXFEPB+gTQUE4+OB9ZtbSu1jch5eY4M9ujzpBjLbtjficSQt4eTO1S0P/NExBEU9XcQRJ9xeceVnlXQri6fs/OKIuDA2rnjKnj3YYcOCpCB558CDG2iR2b3FPnBUVZ81hcVPnqTX8ALlNkpYisoSojqqtflBNErOVSgfFzNqbP2QJpjrDBBPX83szdMi0bznSSN0epFnfsZuE+avdj1985C3WoCK/ZqoYow8uYtLlByo6Xnj4EsJ0vNfo3lH0byniQzVU1xzMEDg2t+dps2zXCKOn5m4fOAVLW8SdnoByz6/nkqLPi6YRr3hSaHaCyTky5714LaMg8X8CL5QwTFYhRSJ7g5xpFwSErQ5C8rOv1mKUedUBunBYaTFwLVhkjPzPnOH3jvTe3BnrzJulW7sbtA5lfyVAQi0k2FcwAa1LJFivit+DYukqhLxKViitRbB/dGzlIbiz/rMtB5KPuICao3wPu4eq9BLNVzdZe1LqNvx6qYYXwF+MTZ7fB5qWG6u2ypCfstFovyCvPTzDd80q51QktaV2pjBDaAIpmDVohfoTo7j4oc4rSM8CpN1tV3GM/SQTFHoomzFaMc4susYmnsGlr5ezmfolvx4ckGpGPjSYBBKSmF12nMYtYTvaVdPrzO9MldfSH9PYYQZDU+fByb6ZlPNA/5DSaL8Lq0aLNA9YBOgaK42aWg4wFNz4AAH41JmiUWpvNeU9olphMhsNy4CulzETERD/Hs8R0SMp+T8+lRYWxA3Z3z3boj42Dxr/93KZWbXERd64/NTgbCKqBpKoTPDNFBkSDzYwa7wW9YHZSH1PlHAxzCBMKw4gED47CL9hC26OwUJG+IdMQ129qSJ71OkWxtbQf2cuwH/WplYXPvII9f/UXecT9JYQO26dzNbyr8vfjmGalrVPoZwBWiokCDdA3mKdb0WzLYTLzTGKMdCsB9EyE4kUf6z4wD5rYGle55yTNtJuKDdLJTqwi3aSImP/wcO+DM1VemTye/fp3PeDwnEDHsgfYJd7QFIFEBXIZRYj9T2vecLB1H1+1PZzDCuAXlRjag5o7aOxEoJxjydiqsBS0hASbpyItjro+xO5M5kXwxsHr+esJt1faapET9bEin9ZB5nutGCYQUPldafKbD1a+kr0OUYJ5vFRksyGqxsOnDmRS4DPIkN6cD41sceEsc//sj/L5EPw8YDjcm5qbIJieANSrxe7XIcMTT0ZnDNi5HfbgygiztA/7lWMmFVO8FzinbZkW/VeysXcHKJYcYm9MG6RbnCds/QQZHvPKLRpSOH1SqbwYghyES4CYQQ54temXhmCfgLCaiNomkuToWL7VPt2nJbwCkLAGAViKkTrZQwHFR1uqaWfxzCtpurLw5RwdHHUKmdLLKLEvNGSFI097U4D1Hp1IruR7BxPV/arm0/hMoQ3HPksmr5+jQ3oGcgyCUI9/VIDV5rXIkEfc5HXkiB3FNxi8M3V99uaf9CbswhhvW6n7vVL0peNenohyZRVUtIy08oCe8qAWIUoqnrO1B/tN8Tb9dABfRxmQ1KKUSiaTDox6Ej40/2plhDhiaosRXhoOwAah9bPMm13EjVxrVkN1mP6s48JbY8ZykWKxpdB32dEr6Wm6JmIAp111LQwHwZ1vKn3HGdEA5kDGPHn3rAz0TVvoN3QytGMn1r7+aR7hxtOjyeeWk4KTIuJmWNYvc6V9/MfXgv6QxIVLDIJw63VKmhxdgXu9Gr0HcU/FuwTXO5VLwsC/UtTan81Q8GQ/wX1YqovGytUK3IrpTDOsAv7hByNdsgLEWn/+mbVIIO3fTWEC0+X5Ht85NR34DIMHztHSbWxGxTu0zcD0+EoDcpA3rs2ITo4bMvx0hpHd9uspnDfT4VCsyqO+8dlr0vyos4kOnkiXJnsqjIlWgTAV8QDthZHJdvNDyZFNpScsy8xWnUtjBOdwuXeizzf6ZJpQjPdd7O7rUUsR0T61KhLKc0EewM/KZ9X4LP7Bf3H+hWwycChseOn9Ewm5X6be/iCclNgueBNRWANmQX+oUbChfV5sD4gdDfAaPyQxxAcX83M+4oWaxFJXCJlzvRBefQ0M258KagLy3+CvR5X7q4Zj943gH28D2kmkmwnAxnTon/z+ij8isWF4ynSnlC1OlJCp/qdMVeFqKGD2Lxq3d2wvFirL20+U9okfm4qddTLPAvw3HYUejJfSLjDqewV7WMljJSFiwT6+s+wsZYlSe7BIuqE+vHFKNJEPX5LpI7XqR7mV0SIw4BO4E2Zp0EwerMvmFk83oElxg6IQpV2S9FXHFkPHOmXolHD6UsY8mj4xbS7jaOv8b/u9ElS/LCmaq6FUUr/ejE4GdYD6GJKrNUvFgvIzly2kbk1U1WTANfKN2xV0BLVRNRi+OZKBjSiM0XvFVueF9kc3F2F5eAtVGkazNGZHOrnj60U/rgxgBZJpGvvpiUjUNKZpopbzj7oekfr8h3kGXSGEYXuaAoWlAyd9NwXas5f4HXMN9b+Vs/vEvylzBpqQznkXnlWh7RVPP/kYdMNomWqebKYrRFycB0PCtxVcRQ3D3e44PaLku+Mu7uscVBxy9Aaz+8nhA5KcSctKnu3P2NP/Hz2DGwPkupiX//ChOv1hfkh1OCiZXSSN7CJRpXuv1TeHMZkG7TUCKvARuZto9DQKimtDDvRwJiYLxTglQvqPUz2oyBZ8UVYEcDz4BLOiHrHLP1TegxbF8y1twgJvVlZE3erxkXDb8vibdp4ghQv0bLjIEh1aFqV6KlWngnU1chghOChp/RD0zSYynzP3vhFDso007k525nFfr+h1wP90s/theWsk8KBxOLS7BI2ncWiGJxWISlxbP/e2jnktvzsVzQ4HywemxTPoBLbRiujpCDYj5mHODxNIsGcwCwrOWc6egj4Fhm6cvHjmPq+C55+RPbJM0pzx1iIyRHsEunfgcJHQ+Pg3IgrlQUb+Ij2nkJAeXTjTkyQa6T8QF9rqzfNTrxdOLMktv61bAonkiLFL5PM77gX01rPWZW2fOxD82JJnKdoMhegKDgtqjNWiVIA5dEkKwrkaRpGCcHhORcE31KgcbWu6MZui0zm/K1cd1v5aLF37x1PVCVLNiGtHwrfByNSAUDLll9UgDpQ+UCYZvDB89hvh0Fz+I5eWJlcojwB/wouuoT1zMH9HY+upwdSwMhKuKBnRVwHLNv6seDdj3lwNlxV+E3+M5uBOELnlgC+7w3bpgXKXt1BvsZY4NhhWzpchRWfhFN/qR6zDPmNOYjmeiEe/oP/oQYDNH+pvLtc11FYdAwBLgoswxMnPMvu4Dhm5SCm380R0klidOCEo5Zr/gHmLzwqIrD+jioK0/A267fddYThlj+mkoq2pGgW2Ws3UClhgg3jxcx6OT1wMO7RSFsinSzH0+BpqRadC1xqd4WgGX29eqD5ZvMgRvsp32Z3eP1R1uU4tTerDHg1aWsPJts4Zw7WCQpbAE87gnICGGxvmPwpOpBpm4TyPTbHzHKG9FWxnScXsETWX5hlaBNEP78lMlqEdrQQsZ4WXCUJYUbWM9fcRtqeOJQQ+OA5CE+YUwdz2axMaE2CMQnDKA2UHQ75PVH+I94z+lVybRzDS9Dr7NMvn/N2vJ9o5g/QUpT3jf82u04WnHtaQm1vEJc8IbutHQfyJDPPn9rJG+r/l9cRkwcrUcQXMz5fiAFuch3fADsZ+uuvoyVGsI7lvOgQbqrs5JMzGrxyvZDuy/Lt/Zz0C2lCvm1sTt1OcFmb1gB0E2vEh9RS6Fuq0p/MyTtlZHq/44qbrAXwqdAQpqg20B6KpLXnkK9NSnkj4bPJGmXvvvWv4PJICJ6D50TbX0iVgqtFunEH37oHES5NrHGzAFhIkGxjgD+Ubz4jhr4UE+0SPE7BEsVvl0gCOks/Ws3Z2wvI3IFxmYgFW0kwT81FTAOKTz2AmO7+PBMfJN2AN2pujkt5VgLWEWeTDjI6VAOyGN1w1E0Ksr/6Fb++mk6uS64uDFu4Z5v7B57p/8xhE1bA3jsuvUaeb6v26VhT0cXfVkp973muNUU0rvWbvCRaBZMkOWtH/Wv+SHVkJfq2+7JXf4Q92qJJzVU2SK0ZjHUGxsVjXNh80vPGsqlGBH5c9DffuXpnK4k0X+2HM7g4Xjs1e8f+3bl37XFuHHPANwGsxDI9811MjTOkTj+KCOimrb0vF21lGz28EPlGsliPnvOaEjQyjovD+WutsG4xpFPU8AU9EKtALpLfuy+IWIABnu/mGTFU4HjGyi5J8WYovgBNeca0moIX00Sw4RVysTBr1E2IwoRFL5tEAXs1wA6w9kHXKDkeECmoof8Z40TdYnb6PHOl2omjFQz3uVX4Qh/WmOvDT0z5lBqR/WTMDoN5mrx7E10QOUkKXq52j+Z4p4mjRKfET9x7JZgL27PE9BAbMDDcUXk71/MhX6z7BoaNhv2NMG1S0qAzxc9T7CTm1PIr7HUzFjx5diqeDNjpljOomu6QofUcxQR+ZTjs9axGrfNoDzWJtvu1VF5AvD6Hg3gl1jLg+1fnhN5nYOp4bbHi7IIymhmyKCJaJ8vXiUmQzWcE4hAfQPUtirCmDMaXAVyaZBYpCj4FuJyqIBAG703AeJ3U7md4HEWjhSixinVzpzOea5nE/FGbxBpk3WP3iE0PqqUAO3k7t4R8yJ8vYBVLbZpAvVlEDNraCIos5BPZw9inikokQfTJUSof6AvK0mzGrBbLiygF6peBdCeUON+12BdA/+I3adiYaDb62UZ4P6IWkoQNtzdt44kD6nRjZ1AFKDeHrgUdB1t/4TSodbSMa6pdkWw8/89vP8keUMir1jZzDPhz0krMolns2t9112skmcAGMKB8tacF6wViheQR4+soX/3ExU+CuJaad5Qji9Y/lb/+oGbBSXTRt9WqGB2RDP8u+T2Hh5emoLySJQYLYCi+3+NwhllUhEkjfgbXfsIWKQJEaKcyq5TpfgSydkqyfHUPdhFe2RQ9U+sV+/fd4EZgSqkxJImNFwbdWswX5q3MIXrhOdRSS4ZlW7wUMsPYHYcs5hw+vPlhkAx/s+07BVhowR/QZWXFTgwn1KvRIeYo+0+TNnhYx5McszJfK2A65rTG++EL0egutVYu6Rd0dM4CBo478HIFLNV7nZXGlaWToQjQr5wvsAaXRzu3733sc62jnMvbhP/bZlc/IEDNu1VcADdc30cDARpKii1KcGdMhpSKg/LoTe7Jo7bB55/26RuGUZ0c4UO0wx038pEjhrCBoSdbLPQXI6g3kHiTzbwV1dFWwoX6GGJxdNkDEZZe2YvE8qEduySOIwOO8zSPTlKeiqJZvSq26sn8qlR1UHztKE0RAmbecCbVarp/O55NNHw2TRP/ZKFtxxy+hdroHH5SCNJpLSiYiVuKzE+HLS3YDbemev2V8faydVS9BrjVZGwJO55jfaBsdkmbsBn6PkdguhqWYmULmjrHoR4l0626cPy5yMkPs6rS6boDonwzdD0wAvvjajQfTz/kUr85DxuMEqUN/kPVEpXt2P0j4TVc6o7YUDXSfTLTI3HEprUgHfX2HziJfF53R5+MPKbheMFWOwPd6aEcfnKavdbev2I7+7bk4tS7NFxBPq3MlupP1ZMofpe6/bCDMAneS62aPYa96Wr6rB554b+ztZzxSiLrOHQLfpTJLs9yiT6UzGEj/yyTezTXkS0MMKBkSOmesqAYlwnY78FrtOaXexC9xS6ohoZC3K38LUopwFCs6mzvIIlYPZyOOvuyiB0I9YVqrFxRz/4KUtEPWqPm8MkKG78xVT8R1SKgXHzsMS5duHLXYr3ZVDmPD9HxA7n/pwN4sR/viXktu0jQjwEGtQF4sl9ZYKTPkgcHfqZiXrdRIOAJhZeBJncHf8OoFijrczyuLPPhf12TduWTYKKZZS8/nbfH4Guc5jCszx2yyysCMuOL5y44Mub0o2EAcD7+RiS2hMmRL97VOJLXY6Jr28r4kSbva6WulQt93HughyB6Q7jySWERB6M/4JFCoBoMNb8GWd7mtVYoYKwstTosKXPHEMwmvU7NZ/KOQIcUUJKjqfwmD9u1gdUuudHVZ32VY+iEM/v4KdelAKCovtqXbiYp5guiUAwlR5kgAxlSygY6OtRRZzi+gTErXjUqvFhJYtEDDx2GqI8ckzpUQaDgTb/V0MVmZowj1HP4tMOeIOfbAsARLADMbD/j+UwMsIQWtrv5BkysDwkGhNEiX+jKWMt3Pc6QpxIpHKCS9Ep/npAL3mkt+V+x9SFdZfC/x0cIUUB0aRdK9rcl+APi7tv/qMWD3jnxarv046AXAAT5EjtLu58omE9/odoz7szV4/qKUKNzfVJyg3bIggnMW0OzlwFVVhuUxM+yhRwnnImMoh2+WLCK3JmkXHuJUIgAKlMkjIeegG444R+pXkjNMNTJsLAUIGb9jJJcUYlfFVzBlqwDIBRHQnOaJfr6VRYH0Uze4XtTCOX0io43kl+76vHWdSpmlyyuOBk4G+Vj+QWNoqXPmJcY0tOCEkNCA+tD3JCO5FzTDgb61XK3SXTIy3NBEyot/3m4fqRn8mZk5SR+cQAh0O7ERFlXUtPfJxhQPr9mTv3IJP4mRMAKJvhc4gaJwwu2YwmDPPDAx1DSwtFTZpNAPruKt8yTePo81OHd86XIyLyb0MPttIKE5Bm8p1ljcwwKS/EDCnReZ3y0FfxIj5cMRvmnHPemLKS2S+Nw8fNEiB33XKrLeMgdO17znhJfjAM37rtYTK3/XC8iQsiBbgcpzyQFac1MO4Oi1H/FvmmwLZWT+ufZNW8tCeDJQJR/VxSyAHjZbe13PJ1Qi8TmNuACKj7sFJfZDEHJFA/NHUZhJbfTRgb3CJeZtI6MofqEkEhCUHDBk9BDwa4iI0Ygcd/FQT9rOjimuDBV4asugeHkSW0d6SG/4XPptHmuL+jvgQIPZQyurnUxS4fzHdsxyg56ioj931befyzmkchSth7Ftg/oVTJv+G8Xrbn+T6wUO40qBMTsK41ec48sq2SS8XyQl8MM12kwIMiGpa60LVtjCZ/H/t/vLepyueH0s9JaAfa6enene0RYnJ+sgvMsFgSxBdtzmA+Fc/saxmLb9A9aP4la3oRi1ykv/tb8nhtXzYbNkej6JompnGKSsAXjeDHEF/73tVslUwPFRhq4BsYYQimGhgymktyvpZPRGviQbqxcIVbtAOFbkXR+Y9sYKMzyVF8bSg73JdQ8I2JCKOGegUXMg7oNw8mdv3ToO7++BoBejxjVPt1cPp+cP4pcaEDq9VrYhsRj+DtjMrEd3n6unh0+mnu8zAMjkkY3IwREpf05eCdqmHsslJ1MP55G5210ukyBCo66FeLFkMn9HeshqMbAqS462xUxoGBdElcVd3RarxokE6dw+SZrER8U7Osm/ra+W2s5SaGg9Q0zczlq8r5wVMGUXNOrWbUvCe0Jrdmwa8kc5JFVLX2SPFaYq2StnUMCl4G9aDGRojGLAUZi6kQi493dyaF4/nMRtiEXpkUEwOqIFBExc/j6wTU367mGsUiX8iz1HwhGCyAV2V6b2d70rkzSCOimn7wM6ri6hdSiMARdCKMDEl+vEFost0LwiUnV9JhYjuUJsEdSN6xj27RxOYke6ZUP/lIjbqtsDWPGfaGVeCGHWW7ubqBBGu1sl78CQhutBGUasqwx5k0pE7FPqLomhcn5vD2SQFCgYPyecPKysZaimfvXYtOMNLLd6eWm3HIdXLhLyWcNasnKx9Qe0l3DOO6/cQxbUd+AoQErHYlhA+LgJxEKncJwkcQ0xqIiWsNDgLBJjrHt+Onp+enjKxfElmbmcX3TB+P/Mhv6Hge84J8lgOVM07+XpgH7zlNawJcS3re18IZBfgnPi+tu2uhj9JyAAVF6rvCetntaJHjRSP+jEzA7sfOjENvKHp/GXpHLToItOUdBBsCzY7fSCYMk3X8W/l5oCoIyW5pOOTcFwyQzFBKcLTpTNmTvbNSVHzqpYcijCU0XRZDtFq5g+Wbpz2tWVoyZf6+PynpDYdQV9zHzE7eH20cgyXtm/YIB4+yq1Rl4M2lUa/cFjgh7iNgKBh9QBg5DFmj6V1VoaBecQP7veZi+9Myw2Z4ujmHbpowNdKCh014nvPzLJhrfCbUWeggOQCXW31VmZBTIPQCpVb/uCCQPR5agqvxJ3YP+esasQFVt12gqFCZPmPd153ROzOfsoIOXH84Psd29YeDMPBNJ5GyOTWuz0dDIoNswFdgnX/laLIGpeUiaH8231AuotXX0GttyVVQRrsuQBEegZXIOpYFs/aBvbab4RqrjgozCUUlv4voS6K+M8hXYj05nUsdG3gmPiw4sv6VmJeStYrOUJew5nnQv5g0rnC+NO402khV5IPCVUpd4ASpDOWNYmCy46uW6gGo3+qA3u+PoWqdRL3GyvjRLufVIEn18HeniY+wK+Lhn0EjC0HYpOwz6b4+xRJmu5uJGkaA4c+QEkk/9/ZZ4l3CBVNYYAueu+SsvtyddQHt0eukefttxloX6FV+msqQfNvyiiu6HlsaCfNuBr5JBUmncpE6amSL6CQuIr2Epw+KLy2DOUIEHO/du/56R0Pg8mlpqovCloGbAzrvLYhmS/+uVkf2Wi4KzbOfwGg+BFVOLDojyWRmqkxYmmIAcW8qFyCxw6xTKSpQKA81NyNQKp4z7Exvex8rDI9VJfimDbs7uqvnaCQh3S0Flp49B9NU2x1J8qi8n6OfeMGUAd7PqpWcWYR7HefVBZM+9ZwEkimKrmSkCgJh9f9rbbJKKllmQ8xUrj7/ix28Es1dLkyPHa3Y2Sc0ZGeWkIKzRnAARGd43hqkGHKCQ8tHU5TOKmnhC/WysffBnKdJiR+tWVumtV0GRUeEjnl4k0FRBCci6zP/ADo3RbdQ5hfPuJ5qN82wUyvQdJ+5/zHxdyOiBrXO3nqRFsSZYP4reiGozLzQnUbXqIGTj1mYpHFPoa/ykTIh7146gydT5S+yeSr0PDGRXDr4ubBvzUdFHVWJ0Qsw8D6NZvyt9iKlV8XlznULHB15X+H9wap2UZYAh6SD5KysmeVpq2QN6lWDN0a6a/vDX83SZ+hEMxi78XC6g6P+U0vAV3CEMZT4X+e9CzEl3n43QY3bipHvbdgxscYOkBbcIzPZgRCsjviItKtIq4KRsK7gs3eTee0yrOWzzvDufUEB/jSytF6+VWeQwZQTpxZkjpFCO8ublnHNGVc16Hjgev9YFK6TnJf2wFY1Fn/1ARLDd0iLAWM2q202Qlv0lTaY6GYY8sKH8dGdRwOuBpgFzT485l8FDJbjtX5F81fupUjkIFImGTCkAmJjHG1MFHvx+MLOl7ZTzY26S6hazsx5dmXDcuLLQTqLJI1Ysz2acLNhPBP/uskBdSfDmhyXA2xWyIOFPS4i0ocxok+WWjJXvSt+7tlFcqCMY9FhOT9smV54oIRoCmFrFDeV0Sr1m6XJeBWNoU+UGTmwAbjG3ImECL02rOckoCQyYONgKZv/5qAgUWlQGdb+dIkwfra+Ff8j8Y+wynl2JP0rR3mic9npje0NCPdAdXv3Yxd3Zk+POAtyFmLwbp8KfXP+pRq852JCURNcSk3dh0gexPE9JCb4RCWgR+/euqX3tCGhPzX7MrQMq3CdoohBqj64DD3+UvwsxM5bd00zb2dwPWPAMpk0Tfw53JyOZOGVLVqUNpexUmSp+rWoIGrGUFT+GSik4PNKbIV5FVpEPMZ8/nZGkh1Y/51rrW7JwJ4gQKpryb/7M+upOtmnrhAPzJKzV0RypU5c9pKSVhPOBu4GP9PeE4kFm7x87GqLq6P9neuZZzgADzgyunyFwRDHhKVie7kKDU1VTzmCBYo8lC5d6VF/ZCfnnNe9Z2zxFEyrkjHQ4JK+cXig4nU82mQin/2BoPcT7GNbvnDpdWsETg8wrMSaLoy4ySQwCtXMIPaCnItNTc6EXF4dIWGiS3KZFk3wcWgZ0RR2iIdzYk9PZ7wT6D4Xgts52nX7UdjBB7uqjC6yWL4tO+doFAlD4qAwznnxao7CHGc3EYLT29tgEJ29N1WtDWiexEbB4JEWLudhH23wxSXy7wDyj6hlI/tr5Uh1T+GfmWhkuNAxB8PWf9xRNAKY+X906J7a1rJJ+xu0iBG0VTIw7ckmzpiF2R610JoIKccTiIX2UpJPoUEbAGqC36vxMfZaGj6lUMLGLXhvldITPd93033Si87NQ97FlXnEhO+KiPr7dZ8coJzXUccAET9nPLEqzE35X9CoplPhrIF3RMyqijGdA7NX4AsUv27AOs3yj9sTnXXVlNKRN5B55GGWj17JgKfAf1FhWopYfPd0YOPgRm6Fayickh79Sfy5ygFkfwYO9gca0kigL/cdgG3EMsrtU2wChN52cu2LqB7x52caLykM9cyfpweLzPSz637xIR1FZVSDN/0B6kUiXLE2IhzmyAq2kRpnsp5Xu8sTaELAEgnnSEXqs9E9I2KVZZYy2IByipRHJAEjUMX93bxfLsiCmZQgaQt2QAFLC+CeBOSJhbRNimv/1v1sMfUcsssTsRZBfchaXFJhDYjF139Bxf3lp5ZTKgCNgbsR/xqxPTduPQm9KrLSLuJWcVN7iekVDudAnJa9s4eO+vJN1BFY34GJZf+WI/kxm1CAi5A5oH7Bowf6ayw1/CmUSl14X/D2/x4rD3FIKAaSh3U87Jj/LcAvBWhDPZY9f7Kh2c5hWFilTWRd2p7q3Shy0OHrURxRU7+suo1GCnusS2ydMwry7CWoMuEMokaScFwD3yjfUm9OZ/q7ctyEEfE2g82AdG1olHgwbZVo5nh+NxIiksGjFlglmUCFKIpCO2A34UbxWl4iVVkHCUhtZUWKGWsNa8RSpL03jsHYFQD6IlFczUThUxESEeo8/eVwnFHP3zP5cVymIGh7LZMbidL+Tkj1PIYkPUEkpxT1Fc5ggVbR/z4L1D83FLlXZScjk4PDUvV5B0TdTV1mul41PgvNcOnjs9KVkryX8meNMutEcYzK/KLxJC8KRXPXzoszDADk/8MQP39Nbg1H5iqtZA0EH6dS2QtUlHCLSXOJay4HuycLslzYmoAW05CTt6XJ9Jvve4SKXSmdBQWHoFri9hP4BKWkS8l5kzPFVFx67n3X7ThA0cVLvu1KxuOC01aqDOMTF9ZJFdULd1rn28iwWLpgOgRSR632kMiieiYg//LvkI3iCyLJKGcXH4W8jmMyW2z4FQgW/xKmLLneNRKkdE6hSk3hx1dIOPRJ6LewjL9QhhQo4+khacf8LzxQCyJG70camiJWjEt821OFgt9bO5KKzyL7dFjQ8wLhepM8G3VZ3KF+Byg0TC1+l7tFPwn18Rp2fuwS7sQ5+gSyY2IptanlYoaTURPFKpa8PfzjbKxhmuAi4MyBGPUqY09UNQeCt+76aRGexm0/u1Tamq98MzyphbQawYCrecuuCQ9d4Rz9WFDWI2e8SKUbTUDC8CX3TdvA0MxkZGTTJPQ4C52XvZA4ZDsbuOYTeVsOP1yWo4GW35Q0GiMtZlBzVSF/+D+bGHG17S0HEkDZ+tRtEvWV1WfRAw+3HfbtRfAFviTtdCWxBl0BzawXqvKcprc6ttEXcC2PJY24NLT3iZXV7hpGupugS/nd2B5t8U01uYuht2j4RQ6Ec/TPN9nyTlSTzLFmN/Cbl1K3zsNbsdKdwbeStZudG+HdwXILDH5GbXMtKxvHH1XBq+6nQbQaAtAcZNhfgNlpPlTZf983NSHshWSDbvTrre7+qv8iz3uUxCCju+SHRYhrXQDo5+aO7mFz8bRl1kDa11f0gkUKp/LRFX1xlunq/Zi+lklPNgtcVdHNsCwThe76a7LQZ7PpNA0YBAM1bUcyck8upolqqFrohOEDkU/VYWjybT1Aa/c0DFARV6VD48czVUkPT/pFS6G3ZrToawU4oAALldUVQ/4TttqtoRPXIeA7PTH+zeMQybCv6aZ+DVk2buxCNB2I0MgCh3wJYgtUNsTorKoGA+/ojNA5OxcflXEV8h4ft90foXc+2qD9qRAqTLRAOvc1tU3zovzaBpoxVByg19wn8yP8G57UFCgJTDNCD7piszCDCN//uI1QfVILCOTs7kcb2u2S48YS/3s5X7FZGBwPiAT5BYb6ay9VrpDMotzpskdUOI/DlHrzZupORj5N3bmdieDHIj9IuW6FplEeA6s1sxoGIXM5oMc4KFdR8TW+2croig1YjULw6xlc/B4W/kQygC/Ay/mGeK3cuzTNpYwkiv2F9aSjTIjnJRjDvoDQ/ksecMrVLXIN6nAN2mCrmXLKpUPyvCxwbQBQ85wDkv81+5SQXHLRzHhAeayEi39tzbieB4IBlzlTn5MgrjU/FK+0o5L4WT78fbZbspdxa+A+ajSuEixlwRBiBRkOSRLH1mWPMdaOF8DXEYNYIEiMkfcc0KSsyzNg8exAD49DX9wS0naih/6zOqEwxi+imTnXfeQuWk8A+zBd0jG5hwatRXMP0dq4LBsLKGh5ZOYMhQgcjm4XPwts0JwHp/deY9LYnD0zXpsAgmS8zaqTleq/j5YELuhCKFmHQV/5bieD4VfcTj9jIqsKPMHPF9QXzfSM20/d+96y0uQ1PtL5hkJKDnwfInMQzYs/4y9KOb+XNCQZS1+8ja144a7/8SO16M6m/msOeq0F53XL8FG0/2FLSnImYG5Whau/0Ft0q+OhlSsbB8I2w2KNvVZsMyAg6MVh194whjoqsWluTtxRpFvZMe1ov4C+/9WWyqBywAmCd91UiEyJh1W/lCiPSUYxe2Q+alxGXKRI2UPJluKg3zBrOPefEuFjS+4SVr2NgGSORSxVnpeGVHmDTfCb+zK/5vqGn/tg+I8fe9onqJnBvUkeCP7yU4+rze65gRspo9JQqFQNoFuei6ZUcJ0aVF4Tg/gxzYYHxNrBSBQ2d4ihfaTLO2CJsZKGs/CGJnFRPrP72s/Qr+N1wqNMLq58nCckDcxwgRdZp0oXGFYT+RK5y+aQXLlrUsRRnJsJhJ99aXov5xfkPTzY9RTcaXtQ7NZjVlZirlB5fk1GplhcPNVbJBnV9QfnuKSRXgPTb3C8XUPM/7JM/KI7ROnCkifXK6OcZvt0LT8gd1+xHGqIGNpR2JecR0XBvEa52dGnmmw5Vagefoiv0wT/gI7/XbPS6aI9mvdbtPATDPPyeGrWTaRpFynmBX2+hUCNkgnC6Ci5MNtYYUffyIzXL4UCWkTnadn7csJnpo3uurCWLkO5J73sb4hNXgLbJXc0S65ev/yJqROHjyz/ICP+apsKDBM1FyjxBVoDGnpXNZanAtUecfYAQ7hAuaHw1g5feT6TUGt3F4SHdnoB7urWEECFBNlbZZRt+bu+yFy+ZmG7TZpwNDEt6Y/v4YEmiXpFe0MK5V2JkuusHldJAESaYErKT33x8T8/DhnCRMaap2tC5flCqeSN6bh3+FfdkNG2n4MrEh95EaQdye4lX4I8X6Y281sOMcx4zwJrpJj/JrYSZaU3f6q5xmEuQCcOnKmvTlFjW5zYl79L8Kd3/lEfRSReRPUCdo9Y0ooMV+/EmqiehTuODysOu3Fqa0NoLOPmD9F+Fb8O2+eQj+piMh56P2qIlDB69qkz0Rmbm5bWeAKdyXQeJ5p7Nr07MNpxh9GgIDZJ9zyK/FMNCHYIu1GrhCG/JIGPmV+cZX0VrahX3DTrqSkkJ+RuY8AK+4kLRXSf2GDIMI2GTBFqPgYF8HX2oicGsVmemLwcGk0D4JCH77VGg+N8F9J6YpjKajMcDywbrg+tXdRA764XJkFeqXRwb3dhkocM9MI1LHrxsTYAh89wrP8cbpHSqEc/MvM3X8lQK1rqjG+kkCiS63LZr7LHB8GQvnwpqwzgV/7UqDr75pZlxhDwjGxliieDF4yVLAIohgXh+AHiJGXOFq/YqdRIuqwj3FA5cGo5uWop42a8xPhBXToNnp0FuDhUjPAXA+t4BWAFqt6RTGelUOFrIOggKL24/lP/qRU6ktmrjmj9/g187sQ47BYuf5ZOIS4yetXojmxVxftG/nl1hqFOLH7WobcplhWcJY0VOBEGQkWWu8W8Bd3gwix1JsFlICZLKgipSdLtwPPG1BPSimpfqOFtuiimdIYS/eS1+ChtOFrZW01LWbHDgNpHOyVHLWroYcUsFo2AO9MmBj5mj99C3kpb1ubDJq+fMClhu0/qghJONCe/TT0RdpXEvArBAtN2WPw6g0LXdUDFNKrTLV0XSTu088SH/JJCglw2zrGMrskELmw0dG/Kx122rOR8qbrseSM/kYVu5vZqY5w3HK5xllY/DWwM8/enCpogbt97N8WoQ24XjIrxe6dxbUYHPKw9Uek7jGGWVV26yCRtGaVgD6OjZKo+y5SrozKYH/kq0qpXpQrqLtv2cEiSLdRA51ptB/xvTnbeSlhOkZwsSOWgJHyxEOJjGx/9fqIM+2w9fIrOVfGhXezEWJaIDUQkeaVpNxUU8d6Gf3zYTn4mL7+1cB/Cdipx9bL7Hhn/wUtabAVgI1QrpKqQwFkgVzi7tINfbbrPuqj3yW5Zu/LEWqgg2N0qMuj0ZuogEBdkeKLXT6vva22B8fw7qP4czdBplC6wkNDtcXwUejHeUU4Ai/4id2EyfPx93s5Zp2vL6Ol0ObA9xyRaLJ68o9ijNWuAx3syQa3JTsfWItg25fGDGv6LIsgzIJCSs10dsfQsfiXQbTwA7fGOX4h29TMmlrnhfbN/AjINMM36Wt4Tj488vlHtNfTorJZA47g4Lmd+D0S6r6mR3cIhRBKglTZ4HbjxHx1reyufh1gtfajDEU/pOUjcylRxg9R94HU="/>
  <p:tag name="MEKKOXMLTAGS" val="1"/>
</p:tagLst>
</file>

<file path=ppt/theme/theme1.xml><?xml version="1.0" encoding="utf-8"?>
<a:theme xmlns:a="http://schemas.openxmlformats.org/drawingml/2006/main" name="MBTA">
  <a:themeElements>
    <a:clrScheme name="ppT TEST 3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99CCFF"/>
      </a:accent1>
      <a:accent2>
        <a:srgbClr val="CCCCFF"/>
      </a:accent2>
      <a:accent3>
        <a:srgbClr val="FFFFFF"/>
      </a:accent3>
      <a:accent4>
        <a:srgbClr val="000000"/>
      </a:accent4>
      <a:accent5>
        <a:srgbClr val="CAE2FF"/>
      </a:accent5>
      <a:accent6>
        <a:srgbClr val="B9B9E7"/>
      </a:accent6>
      <a:hlink>
        <a:srgbClr val="3333CC"/>
      </a:hlink>
      <a:folHlink>
        <a:srgbClr val="AF67FF"/>
      </a:folHlink>
    </a:clrScheme>
    <a:fontScheme name="ppT TEST">
      <a:majorFont>
        <a:latin typeface="Verdana"/>
        <a:ea typeface=""/>
        <a:cs typeface="Arial"/>
      </a:majorFont>
      <a:minorFont>
        <a:latin typeface="Verdana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 marL="342900" indent="-342900">
          <a:defRPr b="1" u="sng" dirty="0" smtClean="0">
            <a:latin typeface="+mj-lt"/>
          </a:defRPr>
        </a:defPPr>
      </a:lstStyle>
    </a:txDef>
  </a:objectDefaults>
  <a:extraClrSchemeLst>
    <a:extraClrScheme>
      <a:clrScheme name="ppT TES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MBTA" id="{A9A91626-64AF-4BB6-A98C-A92CD1976DE6}" vid="{E06E7F53-71CC-4783-9AF9-416875201A03}"/>
    </a:ext>
  </a:extLst>
</a:theme>
</file>

<file path=ppt/theme/theme10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Presentation3">
  <a:themeElements>
    <a:clrScheme name="ppT TEST 3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99CCFF"/>
      </a:accent1>
      <a:accent2>
        <a:srgbClr val="CCCCFF"/>
      </a:accent2>
      <a:accent3>
        <a:srgbClr val="FFFFFF"/>
      </a:accent3>
      <a:accent4>
        <a:srgbClr val="000000"/>
      </a:accent4>
      <a:accent5>
        <a:srgbClr val="CAE2FF"/>
      </a:accent5>
      <a:accent6>
        <a:srgbClr val="B9B9E7"/>
      </a:accent6>
      <a:hlink>
        <a:srgbClr val="3333CC"/>
      </a:hlink>
      <a:folHlink>
        <a:srgbClr val="AF67FF"/>
      </a:folHlink>
    </a:clrScheme>
    <a:fontScheme name="ppT TEST">
      <a:majorFont>
        <a:latin typeface="Verdana"/>
        <a:ea typeface=""/>
        <a:cs typeface="Arial"/>
      </a:majorFont>
      <a:minorFont>
        <a:latin typeface="Verdana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 marL="342900" indent="-342900">
          <a:defRPr b="1" u="sng" dirty="0" smtClean="0">
            <a:latin typeface="+mj-lt"/>
          </a:defRPr>
        </a:defPPr>
      </a:lstStyle>
    </a:txDef>
  </a:objectDefaults>
  <a:extraClrSchemeLst>
    <a:extraClrScheme>
      <a:clrScheme name="ppT TES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1_Presentation3">
  <a:themeElements>
    <a:clrScheme name="ppT TEST 3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99CCFF"/>
      </a:accent1>
      <a:accent2>
        <a:srgbClr val="CCCCFF"/>
      </a:accent2>
      <a:accent3>
        <a:srgbClr val="FFFFFF"/>
      </a:accent3>
      <a:accent4>
        <a:srgbClr val="000000"/>
      </a:accent4>
      <a:accent5>
        <a:srgbClr val="CAE2FF"/>
      </a:accent5>
      <a:accent6>
        <a:srgbClr val="B9B9E7"/>
      </a:accent6>
      <a:hlink>
        <a:srgbClr val="3333CC"/>
      </a:hlink>
      <a:folHlink>
        <a:srgbClr val="AF67FF"/>
      </a:folHlink>
    </a:clrScheme>
    <a:fontScheme name="ppT TEST">
      <a:majorFont>
        <a:latin typeface="Verdana"/>
        <a:ea typeface=""/>
        <a:cs typeface="Arial"/>
      </a:majorFont>
      <a:minorFont>
        <a:latin typeface="Verdana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 marL="342900" indent="-342900">
          <a:defRPr b="1" u="sng" dirty="0" smtClean="0">
            <a:latin typeface="+mj-lt"/>
          </a:defRPr>
        </a:defPPr>
      </a:lstStyle>
    </a:txDef>
  </a:objectDefaults>
  <a:extraClrSchemeLst>
    <a:extraClrScheme>
      <a:clrScheme name="ppT TES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2_Presentation3">
  <a:themeElements>
    <a:clrScheme name="ppT TEST 3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99CCFF"/>
      </a:accent1>
      <a:accent2>
        <a:srgbClr val="CCCCFF"/>
      </a:accent2>
      <a:accent3>
        <a:srgbClr val="FFFFFF"/>
      </a:accent3>
      <a:accent4>
        <a:srgbClr val="000000"/>
      </a:accent4>
      <a:accent5>
        <a:srgbClr val="CAE2FF"/>
      </a:accent5>
      <a:accent6>
        <a:srgbClr val="B9B9E7"/>
      </a:accent6>
      <a:hlink>
        <a:srgbClr val="3333CC"/>
      </a:hlink>
      <a:folHlink>
        <a:srgbClr val="AF67FF"/>
      </a:folHlink>
    </a:clrScheme>
    <a:fontScheme name="ppT TEST">
      <a:majorFont>
        <a:latin typeface="Verdana"/>
        <a:ea typeface=""/>
        <a:cs typeface="Arial"/>
      </a:majorFont>
      <a:minorFont>
        <a:latin typeface="Verdana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 marL="342900" indent="-342900">
          <a:defRPr b="1" u="sng" dirty="0" smtClean="0">
            <a:latin typeface="+mj-lt"/>
          </a:defRPr>
        </a:defPPr>
      </a:lstStyle>
    </a:txDef>
  </a:objectDefaults>
  <a:extraClrSchemeLst>
    <a:extraClrScheme>
      <a:clrScheme name="ppT TES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3_Presentation3">
  <a:themeElements>
    <a:clrScheme name="ppT TEST 3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99CCFF"/>
      </a:accent1>
      <a:accent2>
        <a:srgbClr val="CCCCFF"/>
      </a:accent2>
      <a:accent3>
        <a:srgbClr val="FFFFFF"/>
      </a:accent3>
      <a:accent4>
        <a:srgbClr val="000000"/>
      </a:accent4>
      <a:accent5>
        <a:srgbClr val="CAE2FF"/>
      </a:accent5>
      <a:accent6>
        <a:srgbClr val="B9B9E7"/>
      </a:accent6>
      <a:hlink>
        <a:srgbClr val="3333CC"/>
      </a:hlink>
      <a:folHlink>
        <a:srgbClr val="AF67FF"/>
      </a:folHlink>
    </a:clrScheme>
    <a:fontScheme name="ppT TEST">
      <a:majorFont>
        <a:latin typeface="Verdana"/>
        <a:ea typeface=""/>
        <a:cs typeface="Arial"/>
      </a:majorFont>
      <a:minorFont>
        <a:latin typeface="Verdana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 marL="342900" indent="-342900">
          <a:defRPr b="1" u="sng" dirty="0" smtClean="0">
            <a:latin typeface="+mj-lt"/>
          </a:defRPr>
        </a:defPPr>
      </a:lstStyle>
    </a:txDef>
  </a:objectDefaults>
  <a:extraClrSchemeLst>
    <a:extraClrScheme>
      <a:clrScheme name="ppT TES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6.xml><?xml version="1.0" encoding="utf-8"?>
<a:theme xmlns:a="http://schemas.openxmlformats.org/drawingml/2006/main" name="1_MBTA">
  <a:themeElements>
    <a:clrScheme name="ppT TEST 3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99CCFF"/>
      </a:accent1>
      <a:accent2>
        <a:srgbClr val="CCCCFF"/>
      </a:accent2>
      <a:accent3>
        <a:srgbClr val="FFFFFF"/>
      </a:accent3>
      <a:accent4>
        <a:srgbClr val="000000"/>
      </a:accent4>
      <a:accent5>
        <a:srgbClr val="CAE2FF"/>
      </a:accent5>
      <a:accent6>
        <a:srgbClr val="B9B9E7"/>
      </a:accent6>
      <a:hlink>
        <a:srgbClr val="3333CC"/>
      </a:hlink>
      <a:folHlink>
        <a:srgbClr val="AF67FF"/>
      </a:folHlink>
    </a:clrScheme>
    <a:fontScheme name="ppT TEST">
      <a:majorFont>
        <a:latin typeface="Verdana"/>
        <a:ea typeface=""/>
        <a:cs typeface="Arial"/>
      </a:majorFont>
      <a:minorFont>
        <a:latin typeface="Verdana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 marL="342900" indent="-342900">
          <a:defRPr b="1" u="sng" dirty="0" smtClean="0">
            <a:latin typeface="+mj-lt"/>
          </a:defRPr>
        </a:defPPr>
      </a:lstStyle>
    </a:txDef>
  </a:objectDefaults>
  <a:extraClrSchemeLst>
    <a:extraClrScheme>
      <a:clrScheme name="ppT TES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MBTA" id="{A9A91626-64AF-4BB6-A98C-A92CD1976DE6}" vid="{E06E7F53-71CC-4783-9AF9-416875201A03}"/>
    </a:ext>
  </a:extLst>
</a:theme>
</file>

<file path=ppt/theme/theme7.xml><?xml version="1.0" encoding="utf-8"?>
<a:theme xmlns:a="http://schemas.openxmlformats.org/drawingml/2006/main" name="2_MBTA">
  <a:themeElements>
    <a:clrScheme name="ppT TEST 3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99CCFF"/>
      </a:accent1>
      <a:accent2>
        <a:srgbClr val="CCCCFF"/>
      </a:accent2>
      <a:accent3>
        <a:srgbClr val="FFFFFF"/>
      </a:accent3>
      <a:accent4>
        <a:srgbClr val="000000"/>
      </a:accent4>
      <a:accent5>
        <a:srgbClr val="CAE2FF"/>
      </a:accent5>
      <a:accent6>
        <a:srgbClr val="B9B9E7"/>
      </a:accent6>
      <a:hlink>
        <a:srgbClr val="3333CC"/>
      </a:hlink>
      <a:folHlink>
        <a:srgbClr val="AF67FF"/>
      </a:folHlink>
    </a:clrScheme>
    <a:fontScheme name="ppT TEST">
      <a:majorFont>
        <a:latin typeface="Verdana"/>
        <a:ea typeface=""/>
        <a:cs typeface="Arial"/>
      </a:majorFont>
      <a:minorFont>
        <a:latin typeface="Verdana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 marL="342900" indent="-342900">
          <a:defRPr b="1" u="sng" dirty="0" smtClean="0">
            <a:latin typeface="+mj-lt"/>
          </a:defRPr>
        </a:defPPr>
      </a:lstStyle>
    </a:txDef>
  </a:objectDefaults>
  <a:extraClrSchemeLst>
    <a:extraClrScheme>
      <a:clrScheme name="ppT TES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MBTA" id="{A9A91626-64AF-4BB6-A98C-A92CD1976DE6}" vid="{E06E7F53-71CC-4783-9AF9-416875201A03}"/>
    </a:ext>
  </a:extLst>
</a:theme>
</file>

<file path=ppt/theme/theme8.xml><?xml version="1.0" encoding="utf-8"?>
<a:theme xmlns:a="http://schemas.openxmlformats.org/drawingml/2006/main" name="3_MBTA">
  <a:themeElements>
    <a:clrScheme name="ppT TEST 3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99CCFF"/>
      </a:accent1>
      <a:accent2>
        <a:srgbClr val="CCCCFF"/>
      </a:accent2>
      <a:accent3>
        <a:srgbClr val="FFFFFF"/>
      </a:accent3>
      <a:accent4>
        <a:srgbClr val="000000"/>
      </a:accent4>
      <a:accent5>
        <a:srgbClr val="CAE2FF"/>
      </a:accent5>
      <a:accent6>
        <a:srgbClr val="B9B9E7"/>
      </a:accent6>
      <a:hlink>
        <a:srgbClr val="3333CC"/>
      </a:hlink>
      <a:folHlink>
        <a:srgbClr val="AF67FF"/>
      </a:folHlink>
    </a:clrScheme>
    <a:fontScheme name="ppT TEST">
      <a:majorFont>
        <a:latin typeface="Verdana"/>
        <a:ea typeface=""/>
        <a:cs typeface="Arial"/>
      </a:majorFont>
      <a:minorFont>
        <a:latin typeface="Verdana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 marL="342900" indent="-342900">
          <a:defRPr b="1" u="sng" dirty="0" smtClean="0">
            <a:latin typeface="+mj-lt"/>
          </a:defRPr>
        </a:defPPr>
      </a:lstStyle>
    </a:txDef>
  </a:objectDefaults>
  <a:extraClrSchemeLst>
    <a:extraClrScheme>
      <a:clrScheme name="ppT TES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MBTA" id="{A9A91626-64AF-4BB6-A98C-A92CD1976DE6}" vid="{E06E7F53-71CC-4783-9AF9-416875201A03}"/>
    </a:ext>
  </a:extLst>
</a:theme>
</file>

<file path=ppt/theme/theme9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314088DBACF70F429B55EF7E8C88DA8A" ma:contentTypeVersion="4" ma:contentTypeDescription="Create a new document." ma:contentTypeScope="" ma:versionID="292306b25d0b46b20b008403e0012adb">
  <xsd:schema xmlns:xsd="http://www.w3.org/2001/XMLSchema" xmlns:xs="http://www.w3.org/2001/XMLSchema" xmlns:p="http://schemas.microsoft.com/office/2006/metadata/properties" xmlns:ns2="da661411-cc0a-409b-b10d-2994db0e96ef" targetNamespace="http://schemas.microsoft.com/office/2006/metadata/properties" ma:root="true" ma:fieldsID="d356f6c812d332dc423425102401e20b" ns2:_="">
    <xsd:import namespace="da661411-cc0a-409b-b10d-2994db0e96ef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EventHashCode" minOccurs="0"/>
                <xsd:element ref="ns2:MediaServiceGenerationTim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a661411-cc0a-409b-b10d-2994db0e96ef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EventHashCode" ma:index="10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GenerationTime" ma:index="11" nillable="true" ma:displayName="MediaServiceGenerationTime" ma:hidden="true" ma:internalName="MediaServiceGenerationTime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6B459DD2-5C59-43FB-9659-F3620748F739}"/>
</file>

<file path=customXml/itemProps2.xml><?xml version="1.0" encoding="utf-8"?>
<ds:datastoreItem xmlns:ds="http://schemas.openxmlformats.org/officeDocument/2006/customXml" ds:itemID="{62122486-BC63-45EC-8128-90B10BC21B59}"/>
</file>

<file path=customXml/itemProps3.xml><?xml version="1.0" encoding="utf-8"?>
<ds:datastoreItem xmlns:ds="http://schemas.openxmlformats.org/officeDocument/2006/customXml" ds:itemID="{D64E5990-D294-400F-9637-514CEDD1FA25}"/>
</file>

<file path=docProps/app.xml><?xml version="1.0" encoding="utf-8"?>
<Properties xmlns="http://schemas.openxmlformats.org/officeDocument/2006/extended-properties" xmlns:vt="http://schemas.openxmlformats.org/officeDocument/2006/docPropsVTypes">
  <Template>MBTA</Template>
  <TotalTime>27809</TotalTime>
  <Words>1913</Words>
  <Application>Microsoft Office PowerPoint</Application>
  <PresentationFormat>On-screen Show (4:3)</PresentationFormat>
  <Paragraphs>625</Paragraphs>
  <Slides>17</Slides>
  <Notes>12</Notes>
  <HiddenSlides>0</HiddenSlides>
  <MMClips>0</MMClips>
  <ScaleCrop>false</ScaleCrop>
  <HeadingPairs>
    <vt:vector size="6" baseType="variant">
      <vt:variant>
        <vt:lpstr>Fonts Used</vt:lpstr>
      </vt:variant>
      <vt:variant>
        <vt:i4>4</vt:i4>
      </vt:variant>
      <vt:variant>
        <vt:lpstr>Theme</vt:lpstr>
      </vt:variant>
      <vt:variant>
        <vt:i4>8</vt:i4>
      </vt:variant>
      <vt:variant>
        <vt:lpstr>Slide Titles</vt:lpstr>
      </vt:variant>
      <vt:variant>
        <vt:i4>17</vt:i4>
      </vt:variant>
    </vt:vector>
  </HeadingPairs>
  <TitlesOfParts>
    <vt:vector size="29" baseType="lpstr">
      <vt:lpstr>Arial</vt:lpstr>
      <vt:lpstr>Calibri</vt:lpstr>
      <vt:lpstr>Lato</vt:lpstr>
      <vt:lpstr>Verdana</vt:lpstr>
      <vt:lpstr>MBTA</vt:lpstr>
      <vt:lpstr>Presentation3</vt:lpstr>
      <vt:lpstr>1_Presentation3</vt:lpstr>
      <vt:lpstr>2_Presentation3</vt:lpstr>
      <vt:lpstr>3_Presentation3</vt:lpstr>
      <vt:lpstr>1_MBTA</vt:lpstr>
      <vt:lpstr>2_MBTA</vt:lpstr>
      <vt:lpstr>3_MBTA</vt:lpstr>
      <vt:lpstr>Transit Asset Management Program  Status Update</vt:lpstr>
      <vt:lpstr>MBTA Asset Management Program Goals - RECAP </vt:lpstr>
      <vt:lpstr>Transit Asset Management Plan/NTD Deliverables Overview</vt:lpstr>
      <vt:lpstr>PowerPoint Presentation</vt:lpstr>
      <vt:lpstr>PowerPoint Presentation</vt:lpstr>
      <vt:lpstr>NTD Asset Inventory Data Collection (1 of 2)</vt:lpstr>
      <vt:lpstr>NTD Asset Inventory Data Collection (2 of 2)</vt:lpstr>
      <vt:lpstr>PowerPoint Presentation</vt:lpstr>
      <vt:lpstr>PowerPoint Presentation</vt:lpstr>
      <vt:lpstr>PowerPoint Presentation</vt:lpstr>
      <vt:lpstr>PowerPoint Presentation</vt:lpstr>
      <vt:lpstr>Next Steps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Sans, Joshua</dc:creator>
  <cp:lastModifiedBy>Fallon, Paula</cp:lastModifiedBy>
  <cp:revision>1087</cp:revision>
  <cp:lastPrinted>2018-08-30T11:34:20Z</cp:lastPrinted>
  <dcterms:created xsi:type="dcterms:W3CDTF">2017-06-19T20:46:15Z</dcterms:created>
  <dcterms:modified xsi:type="dcterms:W3CDTF">2018-09-07T18:18:2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314088DBACF70F429B55EF7E8C88DA8A</vt:lpwstr>
  </property>
</Properties>
</file>